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144" r:id="rId2"/>
    <p:sldId id="2076138126" r:id="rId3"/>
    <p:sldId id="257" r:id="rId4"/>
    <p:sldId id="259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ghan McMullen" initials="MM" lastIdx="1" clrIdx="0">
    <p:extLst>
      <p:ext uri="{19B8F6BF-5375-455C-9EA6-DF929625EA0E}">
        <p15:presenceInfo xmlns:p15="http://schemas.microsoft.com/office/powerpoint/2012/main" userId="Meghan McMull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9B83D5-9B6A-4582-8050-4B6FE4CF193A}" v="1" dt="2021-02-05T10:08:33.88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8249" autoAdjust="0"/>
  </p:normalViewPr>
  <p:slideViewPr>
    <p:cSldViewPr snapToGrid="0">
      <p:cViewPr varScale="1">
        <p:scale>
          <a:sx n="73" d="100"/>
          <a:sy n="73" d="100"/>
        </p:scale>
        <p:origin x="6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ire Nielsen" userId="ebf09baf-0b46-49dc-b5e4-5c911106321b" providerId="ADAL" clId="{429B83D5-9B6A-4582-8050-4B6FE4CF193A}"/>
    <pc:docChg chg="custSel addSld modSld sldOrd">
      <pc:chgData name="Claire Nielsen" userId="ebf09baf-0b46-49dc-b5e4-5c911106321b" providerId="ADAL" clId="{429B83D5-9B6A-4582-8050-4B6FE4CF193A}" dt="2021-02-05T12:17:36.931" v="40" actId="20577"/>
      <pc:docMkLst>
        <pc:docMk/>
      </pc:docMkLst>
      <pc:sldChg chg="ord">
        <pc:chgData name="Claire Nielsen" userId="ebf09baf-0b46-49dc-b5e4-5c911106321b" providerId="ADAL" clId="{429B83D5-9B6A-4582-8050-4B6FE4CF193A}" dt="2021-02-05T10:27:10.094" v="4"/>
        <pc:sldMkLst>
          <pc:docMk/>
          <pc:sldMk cId="3100287040" sldId="257"/>
        </pc:sldMkLst>
      </pc:sldChg>
      <pc:sldChg chg="modSp mod ord">
        <pc:chgData name="Claire Nielsen" userId="ebf09baf-0b46-49dc-b5e4-5c911106321b" providerId="ADAL" clId="{429B83D5-9B6A-4582-8050-4B6FE4CF193A}" dt="2021-02-05T12:17:36.931" v="40" actId="20577"/>
        <pc:sldMkLst>
          <pc:docMk/>
          <pc:sldMk cId="1313432239" sldId="259"/>
        </pc:sldMkLst>
        <pc:graphicFrameChg chg="modGraphic">
          <ac:chgData name="Claire Nielsen" userId="ebf09baf-0b46-49dc-b5e4-5c911106321b" providerId="ADAL" clId="{429B83D5-9B6A-4582-8050-4B6FE4CF193A}" dt="2021-02-05T12:17:36.931" v="40" actId="20577"/>
          <ac:graphicFrameMkLst>
            <pc:docMk/>
            <pc:sldMk cId="1313432239" sldId="259"/>
            <ac:graphicFrameMk id="2" creationId="{05557470-8CCC-4BA3-8A7E-97239E15E30E}"/>
          </ac:graphicFrameMkLst>
        </pc:graphicFrameChg>
      </pc:sldChg>
      <pc:sldChg chg="add modTransition">
        <pc:chgData name="Claire Nielsen" userId="ebf09baf-0b46-49dc-b5e4-5c911106321b" providerId="ADAL" clId="{429B83D5-9B6A-4582-8050-4B6FE4CF193A}" dt="2021-02-05T10:08:33.884" v="0"/>
        <pc:sldMkLst>
          <pc:docMk/>
          <pc:sldMk cId="4138459603" sldId="2144"/>
        </pc:sldMkLst>
      </pc:sldChg>
      <pc:sldChg chg="modSp add mod">
        <pc:chgData name="Claire Nielsen" userId="ebf09baf-0b46-49dc-b5e4-5c911106321b" providerId="ADAL" clId="{429B83D5-9B6A-4582-8050-4B6FE4CF193A}" dt="2021-02-05T10:23:52.790" v="2" actId="27636"/>
        <pc:sldMkLst>
          <pc:docMk/>
          <pc:sldMk cId="592766283" sldId="2076138126"/>
        </pc:sldMkLst>
        <pc:spChg chg="mod">
          <ac:chgData name="Claire Nielsen" userId="ebf09baf-0b46-49dc-b5e4-5c911106321b" providerId="ADAL" clId="{429B83D5-9B6A-4582-8050-4B6FE4CF193A}" dt="2021-02-05T10:23:52.790" v="2" actId="27636"/>
          <ac:spMkLst>
            <pc:docMk/>
            <pc:sldMk cId="592766283" sldId="2076138126"/>
            <ac:spMk id="17" creationId="{00000000-0000-0000-0000-000000000000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B18F742-0AB6-4983-9FA0-C1C8DB8741D2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F9CA06C3-9053-49CE-BCA2-D5854723EC4F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تحليل ترقية </a:t>
          </a:r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AX</a:t>
          </a:r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 ‏</a:t>
          </a:r>
          <a:r>
            <a:rPr lang="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2012</a:t>
          </a:r>
        </a:p>
      </dgm:t>
    </dgm:pt>
    <dgm:pt modelId="{0DE53F7A-36B0-4CC2-9EEF-CB00A4A42F9A}" type="parTrans" cxnId="{5FD03661-AB36-4884-9597-A493F874AF3F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A4D52D-A855-43A9-977C-85CFE0FF6595}" type="sibTrans" cxnId="{5FD03661-AB36-4884-9597-A493F874AF3F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91B09-3633-41A6-BA3A-34628B1499D6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عرض </a:t>
          </a:r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DMP</a:t>
          </a:r>
        </a:p>
      </dgm:t>
    </dgm:pt>
    <dgm:pt modelId="{AAD8CE01-7298-4C71-A3C3-47980F9594EB}" type="parTrans" cxnId="{878DFABA-2123-4A01-BA0C-2367EE619B6D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5B44A28-6A98-4187-800E-C3AB61E31680}" type="sibTrans" cxnId="{878DFABA-2123-4A01-BA0C-2367EE619B6D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168E26-28E7-4330-B93D-BE7DAE216E54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خدمات </a:t>
          </a:r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LCS</a:t>
          </a:r>
        </a:p>
      </dgm:t>
    </dgm:pt>
    <dgm:pt modelId="{13916C28-16F6-416C-9476-63EC197CF4A0}" type="parTrans" cxnId="{3C80D437-A34D-4E44-B317-E65E4A983470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23AFDC-3EB1-4366-AEBA-75A5DB4F8E85}" type="sibTrans" cxnId="{3C80D437-A34D-4E44-B317-E65E4A983470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0C54466-59DF-4702-84A9-BBC9B005EC45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‏‫تحليل فروق الملاءمة</a:t>
          </a:r>
        </a:p>
      </dgm:t>
    </dgm:pt>
    <dgm:pt modelId="{F46C767D-5DC7-4BD8-A03A-49DE3426459D}" type="parTrans" cxnId="{1B37C4C4-18F2-4EE3-A150-CB47187BECBB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04FA1D-85C5-403B-8943-24DBA61D3ECA}" type="sibTrans" cxnId="{1B37C4C4-18F2-4EE3-A150-CB47187BECBB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870A217-10F5-424A-862E-4B9158CEE275}">
      <dgm:prSet/>
      <dgm:spPr/>
      <dgm:t>
        <a:bodyPr/>
        <a:lstStyle/>
        <a:p>
          <a:pPr rtl="1"/>
          <a:r>
            <a:rPr lang="ar-SA" baseline="0">
              <a:latin typeface="Arial" panose="020B0604020202020204" pitchFamily="34" charset="0"/>
              <a:cs typeface="Arial" panose="020B0604020202020204" pitchFamily="34" charset="0"/>
              <a:rtl/>
            </a:rPr>
            <a:t>الميزات</a:t>
          </a:r>
        </a:p>
      </dgm:t>
    </dgm:pt>
    <dgm:pt modelId="{AB210B54-C9A2-4BAF-80A7-DB3568B4C2B3}" type="parTrans" cxnId="{45AB04BA-5A6F-436F-8D6B-49710B16808D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D45FA3E-A470-4CA5-B570-618180F324F9}" type="sibTrans" cxnId="{45AB04BA-5A6F-436F-8D6B-49710B16808D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2D116C7-359C-4236-AA44-4F344600207A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‏‫‏‫موردو البرامج المستقلون </a:t>
          </a:r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(ISV)</a:t>
          </a:r>
        </a:p>
      </dgm:t>
    </dgm:pt>
    <dgm:pt modelId="{2F682650-BD82-441F-B364-C642A242A796}" type="parTrans" cxnId="{BA992866-87E0-43A1-AA74-ABD1FF5D5F88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77FA8BE-8544-4DFF-B4EE-B4AC980A0F94}" type="sibTrans" cxnId="{BA992866-87E0-43A1-AA74-ABD1FF5D5F88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940DFB1-DC13-4BB8-BF7B-EB16D8742F9E}">
      <dgm:prSet/>
      <dgm:spPr/>
      <dgm:t>
        <a:bodyPr/>
        <a:lstStyle/>
        <a:p>
          <a:pPr rtl="1"/>
          <a:r>
            <a:rPr lang="ar-SA" baseline="0">
              <a:latin typeface="Arial" panose="020B0604020202020204" pitchFamily="34" charset="0"/>
              <a:cs typeface="Arial" panose="020B0604020202020204" pitchFamily="34" charset="0"/>
              <a:rtl/>
            </a:rPr>
            <a:t>الترجمة</a:t>
          </a:r>
        </a:p>
      </dgm:t>
    </dgm:pt>
    <dgm:pt modelId="{0DCA53DC-371F-40DF-94AE-A64B897104B6}" type="parTrans" cxnId="{0AA9579D-9B27-4CBE-8133-3CA6B71F5E56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541FD5-ACA3-4888-8593-B50018A994D9}" type="sibTrans" cxnId="{0AA9579D-9B27-4CBE-8133-3CA6B71F5E56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12566BA-E31B-42FF-B705-BBB36385F52B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ترقية الرموز</a:t>
          </a:r>
        </a:p>
      </dgm:t>
    </dgm:pt>
    <dgm:pt modelId="{D2D4BAEF-3A2A-4892-A5ED-CE02A38A47F5}" type="parTrans" cxnId="{C34B1D90-1ED8-4ABE-81AE-343FAACA0273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D33B0D-EA27-4D4D-97D8-715B20023FF5}" type="sibTrans" cxnId="{C34B1D90-1ED8-4ABE-81AE-343FAACA0273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88ABA40-0E11-4790-8F36-1EA506704E10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Lifecycle Services</a:t>
          </a:r>
        </a:p>
      </dgm:t>
    </dgm:pt>
    <dgm:pt modelId="{6E49A88D-79AD-4018-B50F-639E9B276915}" type="parTrans" cxnId="{357668CE-E165-4D12-B295-965945B33242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F48BF55-D183-4B3F-B015-DE2C6EE77597}" type="sibTrans" cxnId="{357668CE-E165-4D12-B295-965945B33242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8B4220-9D90-4747-892F-1D3BE24733C3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الملحقات</a:t>
          </a:r>
        </a:p>
      </dgm:t>
    </dgm:pt>
    <dgm:pt modelId="{D83BC585-C81E-4067-BF3A-CA039768FBDB}" type="parTrans" cxnId="{BE11D625-F13F-416E-A721-47550B87FECB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B2F4229-FD54-4939-AC4C-8D5C50724031}" type="sibTrans" cxnId="{BE11D625-F13F-416E-A721-47550B87FECB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F32000D-A12C-47A7-B034-9DE3F80F5C26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إعادة التصميم</a:t>
          </a:r>
        </a:p>
      </dgm:t>
    </dgm:pt>
    <dgm:pt modelId="{F0A73E8C-EE59-43C6-A75E-761E59E40FD3}" type="parTrans" cxnId="{B829C644-5B64-4B8C-9855-1A985B0F0C43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CFEFE0-EEB5-4E63-967E-572C75D39C23}" type="sibTrans" cxnId="{B829C644-5B64-4B8C-9855-1A985B0F0C43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4A9F626-E7A4-44EE-BDB2-BAC3352D7EF5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ترقية/ترحيل البيانات</a:t>
          </a:r>
        </a:p>
      </dgm:t>
    </dgm:pt>
    <dgm:pt modelId="{756D74B1-9325-4659-A41F-344316973E9D}" type="parTrans" cxnId="{4B29B4C7-AA2E-4CAF-BEDB-81485755BC68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4309918-6BCD-44A6-B437-0D07DA321C25}" type="sibTrans" cxnId="{4B29B4C7-AA2E-4CAF-BEDB-81485755BC68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5D79E8-8CAC-49C2-9ED2-473B908FE879}">
      <dgm:prSet/>
      <dgm:spPr/>
      <dgm:t>
        <a:bodyPr/>
        <a:lstStyle/>
        <a:p>
          <a:pPr rtl="1"/>
          <a:r>
            <a:rPr lang="ar-SA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حزم ترقية البيانات</a:t>
          </a:r>
        </a:p>
      </dgm:t>
    </dgm:pt>
    <dgm:pt modelId="{D974BB7F-67B1-45C1-966F-C89F2DE55AC0}" type="parTrans" cxnId="{87646ADF-31F1-4486-9DBE-C87EC6B939D3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35086C3-22B2-495C-B909-68C341C33C24}" type="sibTrans" cxnId="{87646ADF-31F1-4486-9DBE-C87EC6B939D3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43DBD1-F352-4FB2-9908-374960856ADB}">
      <dgm:prSet/>
      <dgm:spPr/>
      <dgm:t>
        <a:bodyPr/>
        <a:lstStyle/>
        <a:p>
          <a:pPr rtl="1"/>
          <a:r>
            <a:rPr lang="ar-SA" baseline="0">
              <a:latin typeface="Arial" panose="020B0604020202020204" pitchFamily="34" charset="0"/>
              <a:cs typeface="Arial" panose="020B0604020202020204" pitchFamily="34" charset="0"/>
              <a:rtl val="0"/>
            </a:rPr>
            <a:t>DMF</a:t>
          </a:r>
        </a:p>
      </dgm:t>
    </dgm:pt>
    <dgm:pt modelId="{F4AC14D0-89FE-4869-907A-129DE070930D}" type="parTrans" cxnId="{E5922AF1-EE87-4360-980D-016BE28B04D6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B777A3A-BAAE-457A-84D1-252F3A41DEDE}" type="sibTrans" cxnId="{E5922AF1-EE87-4360-980D-016BE28B04D6}">
      <dgm:prSet/>
      <dgm:spPr/>
      <dgm:t>
        <a:bodyPr/>
        <a:lstStyle/>
        <a:p>
          <a:pPr rtl="1"/>
          <a:endParaRPr lang="en-US" baseline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E0F7833-9C43-407B-91F1-EC1485FBCCA9}" type="pres">
      <dgm:prSet presAssocID="{DB18F742-0AB6-4983-9FA0-C1C8DB8741D2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5109AC8-B13A-4C95-9290-E83B46CDDF04}" type="pres">
      <dgm:prSet presAssocID="{F9CA06C3-9053-49CE-BCA2-D5854723EC4F}" presName="compNode" presStyleCnt="0"/>
      <dgm:spPr/>
    </dgm:pt>
    <dgm:pt modelId="{9239F325-F874-40C8-920E-5678427A05FD}" type="pres">
      <dgm:prSet presAssocID="{F9CA06C3-9053-49CE-BCA2-D5854723EC4F}" presName="bgRect" presStyleLbl="bgShp" presStyleIdx="0" presStyleCnt="4"/>
      <dgm:spPr/>
      <dgm:t>
        <a:bodyPr/>
        <a:lstStyle/>
        <a:p>
          <a:endParaRPr lang="en-US"/>
        </a:p>
      </dgm:t>
    </dgm:pt>
    <dgm:pt modelId="{EC099BF0-ED35-418F-A3C0-962D51AD0CE4}" type="pres">
      <dgm:prSet presAssocID="{F9CA06C3-9053-49CE-BCA2-D5854723EC4F}" presName="iconRect" presStyleLbl="node1" presStyleIdx="0" presStyleCnt="4" custLinFactX="640355" custLinFactNeighborX="700000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CB781C0B-D1D2-4407-9E97-56300DC7C043}" type="pres">
      <dgm:prSet presAssocID="{F9CA06C3-9053-49CE-BCA2-D5854723EC4F}" presName="spaceRect" presStyleCnt="0"/>
      <dgm:spPr/>
    </dgm:pt>
    <dgm:pt modelId="{DB72EBD4-E7D3-4E4E-93ED-8E3456A93490}" type="pres">
      <dgm:prSet presAssocID="{F9CA06C3-9053-49CE-BCA2-D5854723EC4F}" presName="parTx" presStyleLbl="revTx" presStyleIdx="0" presStyleCnt="8" custScaleX="153276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07FA813C-921A-4C66-813B-A93B86CEDBCE}" type="pres">
      <dgm:prSet presAssocID="{F9CA06C3-9053-49CE-BCA2-D5854723EC4F}" presName="desTx" presStyleLbl="revTx" presStyleIdx="1" presStyleCnt="8" custScaleX="68658" custScaleY="82663" custLinFactX="-46625" custLinFactNeighborX="-100000" custLinFactNeighborY="11484">
        <dgm:presLayoutVars/>
      </dgm:prSet>
      <dgm:spPr/>
      <dgm:t>
        <a:bodyPr/>
        <a:lstStyle/>
        <a:p>
          <a:endParaRPr lang="en-US"/>
        </a:p>
      </dgm:t>
    </dgm:pt>
    <dgm:pt modelId="{DC0FB773-0BDF-47FB-8E2F-A3B377473B51}" type="pres">
      <dgm:prSet presAssocID="{BBA4D52D-A855-43A9-977C-85CFE0FF6595}" presName="sibTrans" presStyleCnt="0"/>
      <dgm:spPr/>
    </dgm:pt>
    <dgm:pt modelId="{BCA4A503-51CA-44F7-B7D8-813C9B5E1D0A}" type="pres">
      <dgm:prSet presAssocID="{50C54466-59DF-4702-84A9-BBC9B005EC45}" presName="compNode" presStyleCnt="0"/>
      <dgm:spPr/>
    </dgm:pt>
    <dgm:pt modelId="{E9735D21-E08F-47F2-932A-1CD52549B479}" type="pres">
      <dgm:prSet presAssocID="{50C54466-59DF-4702-84A9-BBC9B005EC45}" presName="bgRect" presStyleLbl="bgShp" presStyleIdx="1" presStyleCnt="4"/>
      <dgm:spPr/>
    </dgm:pt>
    <dgm:pt modelId="{5754219E-3C24-4C11-8210-44DC1F0B4A42}" type="pres">
      <dgm:prSet presAssocID="{50C54466-59DF-4702-84A9-BBC9B005EC45}" presName="iconRect" presStyleLbl="node1" presStyleIdx="1" presStyleCnt="4" custLinFactX="640355" custLinFactNeighborX="700000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Puzzle"/>
        </a:ext>
      </dgm:extLst>
    </dgm:pt>
    <dgm:pt modelId="{1ED668E2-27A8-4261-98DA-C1F9CB3BF468}" type="pres">
      <dgm:prSet presAssocID="{50C54466-59DF-4702-84A9-BBC9B005EC45}" presName="spaceRect" presStyleCnt="0"/>
      <dgm:spPr/>
    </dgm:pt>
    <dgm:pt modelId="{6088C561-88BE-4520-9376-1F8A20B87B77}" type="pres">
      <dgm:prSet presAssocID="{50C54466-59DF-4702-84A9-BBC9B005EC45}" presName="parTx" presStyleLbl="revTx" presStyleIdx="2" presStyleCnt="8" custScaleX="153276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3EA4D051-99A1-44ED-A368-2BE40B69C679}" type="pres">
      <dgm:prSet presAssocID="{50C54466-59DF-4702-84A9-BBC9B005EC45}" presName="desTx" presStyleLbl="revTx" presStyleIdx="3" presStyleCnt="8" custScaleX="68658" custScaleY="82663" custLinFactX="-46625" custLinFactNeighborX="-100000" custLinFactNeighborY="11484">
        <dgm:presLayoutVars/>
      </dgm:prSet>
      <dgm:spPr/>
      <dgm:t>
        <a:bodyPr/>
        <a:lstStyle/>
        <a:p>
          <a:endParaRPr lang="en-US"/>
        </a:p>
      </dgm:t>
    </dgm:pt>
    <dgm:pt modelId="{B3DA1C19-FD27-44CC-B6E9-2F6BC395058E}" type="pres">
      <dgm:prSet presAssocID="{F904FA1D-85C5-403B-8943-24DBA61D3ECA}" presName="sibTrans" presStyleCnt="0"/>
      <dgm:spPr/>
    </dgm:pt>
    <dgm:pt modelId="{469EAD61-BA8F-40B7-86AD-ED75AA79EBED}" type="pres">
      <dgm:prSet presAssocID="{412566BA-E31B-42FF-B705-BBB36385F52B}" presName="compNode" presStyleCnt="0"/>
      <dgm:spPr/>
    </dgm:pt>
    <dgm:pt modelId="{0578C110-5C81-4C7E-A9C2-96035AB4B249}" type="pres">
      <dgm:prSet presAssocID="{412566BA-E31B-42FF-B705-BBB36385F52B}" presName="bgRect" presStyleLbl="bgShp" presStyleIdx="2" presStyleCnt="4"/>
      <dgm:spPr/>
    </dgm:pt>
    <dgm:pt modelId="{88A4B865-F5C4-4246-91D6-B72CAED083B8}" type="pres">
      <dgm:prSet presAssocID="{412566BA-E31B-42FF-B705-BBB36385F52B}" presName="iconRect" presStyleLbl="node1" presStyleIdx="2" presStyleCnt="4" custLinFactX="646113" custLinFactNeighborX="700000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EA9BDFF5-7C97-497F-B286-F653EB686262}" type="pres">
      <dgm:prSet presAssocID="{412566BA-E31B-42FF-B705-BBB36385F52B}" presName="spaceRect" presStyleCnt="0"/>
      <dgm:spPr/>
    </dgm:pt>
    <dgm:pt modelId="{5337694E-C10F-49B9-BCD2-31970CBD793B}" type="pres">
      <dgm:prSet presAssocID="{412566BA-E31B-42FF-B705-BBB36385F52B}" presName="parTx" presStyleLbl="revTx" presStyleIdx="4" presStyleCnt="8" custScaleX="153276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987E815-15D8-46D6-89DB-3C1D3FDB0108}" type="pres">
      <dgm:prSet presAssocID="{412566BA-E31B-42FF-B705-BBB36385F52B}" presName="desTx" presStyleLbl="revTx" presStyleIdx="5" presStyleCnt="8" custScaleX="68658" custScaleY="82663" custLinFactX="-46625" custLinFactNeighborX="-100000" custLinFactNeighborY="11484">
        <dgm:presLayoutVars/>
      </dgm:prSet>
      <dgm:spPr/>
      <dgm:t>
        <a:bodyPr/>
        <a:lstStyle/>
        <a:p>
          <a:endParaRPr lang="en-US"/>
        </a:p>
      </dgm:t>
    </dgm:pt>
    <dgm:pt modelId="{E9BACABB-23CB-4DD3-AF3A-5B6FA932F520}" type="pres">
      <dgm:prSet presAssocID="{E3D33B0D-EA27-4D4D-97D8-715B20023FF5}" presName="sibTrans" presStyleCnt="0"/>
      <dgm:spPr/>
    </dgm:pt>
    <dgm:pt modelId="{780C10EC-C58D-4DD8-A731-2BAE4D341D8B}" type="pres">
      <dgm:prSet presAssocID="{24A9F626-E7A4-44EE-BDB2-BAC3352D7EF5}" presName="compNode" presStyleCnt="0"/>
      <dgm:spPr/>
    </dgm:pt>
    <dgm:pt modelId="{7CF8C4F5-3D79-499F-9785-F06EF3F8835E}" type="pres">
      <dgm:prSet presAssocID="{24A9F626-E7A4-44EE-BDB2-BAC3352D7EF5}" presName="bgRect" presStyleLbl="bgShp" presStyleIdx="3" presStyleCnt="4"/>
      <dgm:spPr/>
    </dgm:pt>
    <dgm:pt modelId="{1FCBCCF2-C277-44B9-9691-F81A4801B008}" type="pres">
      <dgm:prSet presAssocID="{24A9F626-E7A4-44EE-BDB2-BAC3352D7EF5}" presName="iconRect" presStyleLbl="node1" presStyleIdx="3" presStyleCnt="4" custLinFactX="640355" custLinFactNeighborX="700000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F4479448-1E7D-4A95-B672-E469B6B0ABCB}" type="pres">
      <dgm:prSet presAssocID="{24A9F626-E7A4-44EE-BDB2-BAC3352D7EF5}" presName="spaceRect" presStyleCnt="0"/>
      <dgm:spPr/>
    </dgm:pt>
    <dgm:pt modelId="{F14A1643-B0E7-41DE-B2FA-D2834DE9A003}" type="pres">
      <dgm:prSet presAssocID="{24A9F626-E7A4-44EE-BDB2-BAC3352D7EF5}" presName="parTx" presStyleLbl="revTx" presStyleIdx="6" presStyleCnt="8" custScaleX="153276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464DA56-7942-40FF-BD4C-43FD812E2377}" type="pres">
      <dgm:prSet presAssocID="{24A9F626-E7A4-44EE-BDB2-BAC3352D7EF5}" presName="desTx" presStyleLbl="revTx" presStyleIdx="7" presStyleCnt="8" custScaleX="68658" custScaleY="82663" custLinFactX="-46625" custLinFactNeighborX="-100000" custLinFactNeighborY="11484">
        <dgm:presLayoutVars/>
      </dgm:prSet>
      <dgm:spPr/>
      <dgm:t>
        <a:bodyPr/>
        <a:lstStyle/>
        <a:p>
          <a:endParaRPr lang="en-US"/>
        </a:p>
      </dgm:t>
    </dgm:pt>
  </dgm:ptLst>
  <dgm:cxnLst>
    <dgm:cxn modelId="{11C8F0BB-E9D4-4EE9-8E76-2E17D9AB227A}" type="presOf" srcId="{DB18F742-0AB6-4983-9FA0-C1C8DB8741D2}" destId="{EE0F7833-9C43-407B-91F1-EC1485FBCCA9}" srcOrd="0" destOrd="0" presId="urn:microsoft.com/office/officeart/2018/2/layout/IconVerticalSolidList"/>
    <dgm:cxn modelId="{DDB57F2D-0582-49D4-AE0C-ACCA0163E329}" type="presOf" srcId="{E2191B09-3633-41A6-BA3A-34628B1499D6}" destId="{07FA813C-921A-4C66-813B-A93B86CEDBCE}" srcOrd="0" destOrd="0" presId="urn:microsoft.com/office/officeart/2018/2/layout/IconVerticalSolidList"/>
    <dgm:cxn modelId="{43F2CCF1-5C78-4083-9458-E812DF48EC25}" type="presOf" srcId="{9543DBD1-F352-4FB2-9908-374960856ADB}" destId="{8464DA56-7942-40FF-BD4C-43FD812E2377}" srcOrd="0" destOrd="1" presId="urn:microsoft.com/office/officeart/2018/2/layout/IconVerticalSolidList"/>
    <dgm:cxn modelId="{514D3004-F94B-4E12-82A0-972ECDA3DCED}" type="presOf" srcId="{24A9F626-E7A4-44EE-BDB2-BAC3352D7EF5}" destId="{F14A1643-B0E7-41DE-B2FA-D2834DE9A003}" srcOrd="0" destOrd="0" presId="urn:microsoft.com/office/officeart/2018/2/layout/IconVerticalSolidList"/>
    <dgm:cxn modelId="{BA992866-87E0-43A1-AA74-ABD1FF5D5F88}" srcId="{50C54466-59DF-4702-84A9-BBC9B005EC45}" destId="{02D116C7-359C-4236-AA44-4F344600207A}" srcOrd="1" destOrd="0" parTransId="{2F682650-BD82-441F-B364-C642A242A796}" sibTransId="{977FA8BE-8544-4DFF-B4EE-B4AC980A0F94}"/>
    <dgm:cxn modelId="{5F681584-A3D5-402A-A9EC-5813A2570332}" type="presOf" srcId="{DF32000D-A12C-47A7-B034-9DE3F80F5C26}" destId="{7987E815-15D8-46D6-89DB-3C1D3FDB0108}" srcOrd="0" destOrd="2" presId="urn:microsoft.com/office/officeart/2018/2/layout/IconVerticalSolidList"/>
    <dgm:cxn modelId="{92970364-09C1-462B-8DDB-CE530F092FEF}" type="presOf" srcId="{B940DFB1-DC13-4BB8-BF7B-EB16D8742F9E}" destId="{3EA4D051-99A1-44ED-A368-2BE40B69C679}" srcOrd="0" destOrd="2" presId="urn:microsoft.com/office/officeart/2018/2/layout/IconVerticalSolidList"/>
    <dgm:cxn modelId="{A2821E7E-E7EA-48D0-A1DE-00183A672982}" type="presOf" srcId="{6D168E26-28E7-4330-B93D-BE7DAE216E54}" destId="{07FA813C-921A-4C66-813B-A93B86CEDBCE}" srcOrd="0" destOrd="1" presId="urn:microsoft.com/office/officeart/2018/2/layout/IconVerticalSolidList"/>
    <dgm:cxn modelId="{1B37C4C4-18F2-4EE3-A150-CB47187BECBB}" srcId="{DB18F742-0AB6-4983-9FA0-C1C8DB8741D2}" destId="{50C54466-59DF-4702-84A9-BBC9B005EC45}" srcOrd="1" destOrd="0" parTransId="{F46C767D-5DC7-4BD8-A03A-49DE3426459D}" sibTransId="{F904FA1D-85C5-403B-8943-24DBA61D3ECA}"/>
    <dgm:cxn modelId="{B829C644-5B64-4B8C-9855-1A985B0F0C43}" srcId="{412566BA-E31B-42FF-B705-BBB36385F52B}" destId="{DF32000D-A12C-47A7-B034-9DE3F80F5C26}" srcOrd="2" destOrd="0" parTransId="{F0A73E8C-EE59-43C6-A75E-761E59E40FD3}" sibTransId="{20CFEFE0-EEB5-4E63-967E-572C75D39C23}"/>
    <dgm:cxn modelId="{87646ADF-31F1-4486-9DBE-C87EC6B939D3}" srcId="{24A9F626-E7A4-44EE-BDB2-BAC3352D7EF5}" destId="{FF5D79E8-8CAC-49C2-9ED2-473B908FE879}" srcOrd="0" destOrd="0" parTransId="{D974BB7F-67B1-45C1-966F-C89F2DE55AC0}" sibTransId="{835086C3-22B2-495C-B909-68C341C33C24}"/>
    <dgm:cxn modelId="{F0FF79CA-F9EA-498F-9C44-419C2D805E94}" type="presOf" srcId="{02D116C7-359C-4236-AA44-4F344600207A}" destId="{3EA4D051-99A1-44ED-A368-2BE40B69C679}" srcOrd="0" destOrd="1" presId="urn:microsoft.com/office/officeart/2018/2/layout/IconVerticalSolidList"/>
    <dgm:cxn modelId="{0AA9579D-9B27-4CBE-8133-3CA6B71F5E56}" srcId="{50C54466-59DF-4702-84A9-BBC9B005EC45}" destId="{B940DFB1-DC13-4BB8-BF7B-EB16D8742F9E}" srcOrd="2" destOrd="0" parTransId="{0DCA53DC-371F-40DF-94AE-A64B897104B6}" sibTransId="{EB541FD5-ACA3-4888-8593-B50018A994D9}"/>
    <dgm:cxn modelId="{E034A1DD-9E0F-4EE5-9567-1B6A8B276519}" type="presOf" srcId="{412566BA-E31B-42FF-B705-BBB36385F52B}" destId="{5337694E-C10F-49B9-BCD2-31970CBD793B}" srcOrd="0" destOrd="0" presId="urn:microsoft.com/office/officeart/2018/2/layout/IconVerticalSolidList"/>
    <dgm:cxn modelId="{357668CE-E165-4D12-B295-965945B33242}" srcId="{412566BA-E31B-42FF-B705-BBB36385F52B}" destId="{A88ABA40-0E11-4790-8F36-1EA506704E10}" srcOrd="0" destOrd="0" parTransId="{6E49A88D-79AD-4018-B50F-639E9B276915}" sibTransId="{8F48BF55-D183-4B3F-B015-DE2C6EE77597}"/>
    <dgm:cxn modelId="{45AB04BA-5A6F-436F-8D6B-49710B16808D}" srcId="{50C54466-59DF-4702-84A9-BBC9B005EC45}" destId="{E870A217-10F5-424A-862E-4B9158CEE275}" srcOrd="0" destOrd="0" parTransId="{AB210B54-C9A2-4BAF-80A7-DB3568B4C2B3}" sibTransId="{CD45FA3E-A470-4CA5-B570-618180F324F9}"/>
    <dgm:cxn modelId="{B8E6EA91-701B-48CE-9921-4D50054623B0}" type="presOf" srcId="{FF5D79E8-8CAC-49C2-9ED2-473B908FE879}" destId="{8464DA56-7942-40FF-BD4C-43FD812E2377}" srcOrd="0" destOrd="0" presId="urn:microsoft.com/office/officeart/2018/2/layout/IconVerticalSolidList"/>
    <dgm:cxn modelId="{34D1BCCF-E5EF-45BB-949F-E5B27DE36549}" type="presOf" srcId="{F9CA06C3-9053-49CE-BCA2-D5854723EC4F}" destId="{DB72EBD4-E7D3-4E4E-93ED-8E3456A93490}" srcOrd="0" destOrd="0" presId="urn:microsoft.com/office/officeart/2018/2/layout/IconVerticalSolidList"/>
    <dgm:cxn modelId="{755C93D1-859D-4BEB-989E-32D59334BE6C}" type="presOf" srcId="{E870A217-10F5-424A-862E-4B9158CEE275}" destId="{3EA4D051-99A1-44ED-A368-2BE40B69C679}" srcOrd="0" destOrd="0" presId="urn:microsoft.com/office/officeart/2018/2/layout/IconVerticalSolidList"/>
    <dgm:cxn modelId="{E5922AF1-EE87-4360-980D-016BE28B04D6}" srcId="{24A9F626-E7A4-44EE-BDB2-BAC3352D7EF5}" destId="{9543DBD1-F352-4FB2-9908-374960856ADB}" srcOrd="1" destOrd="0" parTransId="{F4AC14D0-89FE-4869-907A-129DE070930D}" sibTransId="{6B777A3A-BAAE-457A-84D1-252F3A41DEDE}"/>
    <dgm:cxn modelId="{5FD03661-AB36-4884-9597-A493F874AF3F}" srcId="{DB18F742-0AB6-4983-9FA0-C1C8DB8741D2}" destId="{F9CA06C3-9053-49CE-BCA2-D5854723EC4F}" srcOrd="0" destOrd="0" parTransId="{0DE53F7A-36B0-4CC2-9EEF-CB00A4A42F9A}" sibTransId="{BBA4D52D-A855-43A9-977C-85CFE0FF6595}"/>
    <dgm:cxn modelId="{4B29B4C7-AA2E-4CAF-BEDB-81485755BC68}" srcId="{DB18F742-0AB6-4983-9FA0-C1C8DB8741D2}" destId="{24A9F626-E7A4-44EE-BDB2-BAC3352D7EF5}" srcOrd="3" destOrd="0" parTransId="{756D74B1-9325-4659-A41F-344316973E9D}" sibTransId="{54309918-6BCD-44A6-B437-0D07DA321C25}"/>
    <dgm:cxn modelId="{878DFABA-2123-4A01-BA0C-2367EE619B6D}" srcId="{F9CA06C3-9053-49CE-BCA2-D5854723EC4F}" destId="{E2191B09-3633-41A6-BA3A-34628B1499D6}" srcOrd="0" destOrd="0" parTransId="{AAD8CE01-7298-4C71-A3C3-47980F9594EB}" sibTransId="{75B44A28-6A98-4187-800E-C3AB61E31680}"/>
    <dgm:cxn modelId="{DE9D285F-6EE2-4A37-9A6A-EB7F7926DEFF}" type="presOf" srcId="{A88ABA40-0E11-4790-8F36-1EA506704E10}" destId="{7987E815-15D8-46D6-89DB-3C1D3FDB0108}" srcOrd="0" destOrd="0" presId="urn:microsoft.com/office/officeart/2018/2/layout/IconVerticalSolidList"/>
    <dgm:cxn modelId="{8E94E7B1-705E-4724-97F8-F0ED928D3071}" type="presOf" srcId="{5A8B4220-9D90-4747-892F-1D3BE24733C3}" destId="{7987E815-15D8-46D6-89DB-3C1D3FDB0108}" srcOrd="0" destOrd="1" presId="urn:microsoft.com/office/officeart/2018/2/layout/IconVerticalSolidList"/>
    <dgm:cxn modelId="{F7673EF8-1EDC-4F5A-A295-D0DFD45EAF86}" type="presOf" srcId="{50C54466-59DF-4702-84A9-BBC9B005EC45}" destId="{6088C561-88BE-4520-9376-1F8A20B87B77}" srcOrd="0" destOrd="0" presId="urn:microsoft.com/office/officeart/2018/2/layout/IconVerticalSolidList"/>
    <dgm:cxn modelId="{BE11D625-F13F-416E-A721-47550B87FECB}" srcId="{412566BA-E31B-42FF-B705-BBB36385F52B}" destId="{5A8B4220-9D90-4747-892F-1D3BE24733C3}" srcOrd="1" destOrd="0" parTransId="{D83BC585-C81E-4067-BF3A-CA039768FBDB}" sibTransId="{1B2F4229-FD54-4939-AC4C-8D5C50724031}"/>
    <dgm:cxn modelId="{C34B1D90-1ED8-4ABE-81AE-343FAACA0273}" srcId="{DB18F742-0AB6-4983-9FA0-C1C8DB8741D2}" destId="{412566BA-E31B-42FF-B705-BBB36385F52B}" srcOrd="2" destOrd="0" parTransId="{D2D4BAEF-3A2A-4892-A5ED-CE02A38A47F5}" sibTransId="{E3D33B0D-EA27-4D4D-97D8-715B20023FF5}"/>
    <dgm:cxn modelId="{3C80D437-A34D-4E44-B317-E65E4A983470}" srcId="{F9CA06C3-9053-49CE-BCA2-D5854723EC4F}" destId="{6D168E26-28E7-4330-B93D-BE7DAE216E54}" srcOrd="1" destOrd="0" parTransId="{13916C28-16F6-416C-9476-63EC197CF4A0}" sibTransId="{5123AFDC-3EB1-4366-AEBA-75A5DB4F8E85}"/>
    <dgm:cxn modelId="{96247DBF-41D4-4D80-9D68-D1AE72F1CB32}" type="presParOf" srcId="{EE0F7833-9C43-407B-91F1-EC1485FBCCA9}" destId="{95109AC8-B13A-4C95-9290-E83B46CDDF04}" srcOrd="0" destOrd="0" presId="urn:microsoft.com/office/officeart/2018/2/layout/IconVerticalSolidList"/>
    <dgm:cxn modelId="{5302DB18-E4D8-4CCA-AFCD-9B8F7B1DDE5A}" type="presParOf" srcId="{95109AC8-B13A-4C95-9290-E83B46CDDF04}" destId="{9239F325-F874-40C8-920E-5678427A05FD}" srcOrd="0" destOrd="0" presId="urn:microsoft.com/office/officeart/2018/2/layout/IconVerticalSolidList"/>
    <dgm:cxn modelId="{A7C9C0B4-B853-4229-B7B4-DB97E46DD01D}" type="presParOf" srcId="{95109AC8-B13A-4C95-9290-E83B46CDDF04}" destId="{EC099BF0-ED35-418F-A3C0-962D51AD0CE4}" srcOrd="1" destOrd="0" presId="urn:microsoft.com/office/officeart/2018/2/layout/IconVerticalSolidList"/>
    <dgm:cxn modelId="{70849E4A-1379-418C-88BA-68A6BEA39E89}" type="presParOf" srcId="{95109AC8-B13A-4C95-9290-E83B46CDDF04}" destId="{CB781C0B-D1D2-4407-9E97-56300DC7C043}" srcOrd="2" destOrd="0" presId="urn:microsoft.com/office/officeart/2018/2/layout/IconVerticalSolidList"/>
    <dgm:cxn modelId="{1A92528A-9920-4731-861C-A04234F8B652}" type="presParOf" srcId="{95109AC8-B13A-4C95-9290-E83B46CDDF04}" destId="{DB72EBD4-E7D3-4E4E-93ED-8E3456A93490}" srcOrd="3" destOrd="0" presId="urn:microsoft.com/office/officeart/2018/2/layout/IconVerticalSolidList"/>
    <dgm:cxn modelId="{546A8864-39E3-4482-AD5E-C6831BA012B6}" type="presParOf" srcId="{95109AC8-B13A-4C95-9290-E83B46CDDF04}" destId="{07FA813C-921A-4C66-813B-A93B86CEDBCE}" srcOrd="4" destOrd="0" presId="urn:microsoft.com/office/officeart/2018/2/layout/IconVerticalSolidList"/>
    <dgm:cxn modelId="{5AFF682B-DE93-4955-A06B-9C5F364ADC0E}" type="presParOf" srcId="{EE0F7833-9C43-407B-91F1-EC1485FBCCA9}" destId="{DC0FB773-0BDF-47FB-8E2F-A3B377473B51}" srcOrd="1" destOrd="0" presId="urn:microsoft.com/office/officeart/2018/2/layout/IconVerticalSolidList"/>
    <dgm:cxn modelId="{2F87A277-088E-4B26-80DA-D2A9E4BF145B}" type="presParOf" srcId="{EE0F7833-9C43-407B-91F1-EC1485FBCCA9}" destId="{BCA4A503-51CA-44F7-B7D8-813C9B5E1D0A}" srcOrd="2" destOrd="0" presId="urn:microsoft.com/office/officeart/2018/2/layout/IconVerticalSolidList"/>
    <dgm:cxn modelId="{0AFAF232-B1B8-4D36-AA9C-F766BF0D3C32}" type="presParOf" srcId="{BCA4A503-51CA-44F7-B7D8-813C9B5E1D0A}" destId="{E9735D21-E08F-47F2-932A-1CD52549B479}" srcOrd="0" destOrd="0" presId="urn:microsoft.com/office/officeart/2018/2/layout/IconVerticalSolidList"/>
    <dgm:cxn modelId="{DECC7CB4-F497-4B3F-A417-989FB3CE73E0}" type="presParOf" srcId="{BCA4A503-51CA-44F7-B7D8-813C9B5E1D0A}" destId="{5754219E-3C24-4C11-8210-44DC1F0B4A42}" srcOrd="1" destOrd="0" presId="urn:microsoft.com/office/officeart/2018/2/layout/IconVerticalSolidList"/>
    <dgm:cxn modelId="{73B2EDC0-37E1-4B0D-88AF-CDA7A83E5706}" type="presParOf" srcId="{BCA4A503-51CA-44F7-B7D8-813C9B5E1D0A}" destId="{1ED668E2-27A8-4261-98DA-C1F9CB3BF468}" srcOrd="2" destOrd="0" presId="urn:microsoft.com/office/officeart/2018/2/layout/IconVerticalSolidList"/>
    <dgm:cxn modelId="{CBC7DC3C-68CA-4CC3-9F3D-5F547D648CEA}" type="presParOf" srcId="{BCA4A503-51CA-44F7-B7D8-813C9B5E1D0A}" destId="{6088C561-88BE-4520-9376-1F8A20B87B77}" srcOrd="3" destOrd="0" presId="urn:microsoft.com/office/officeart/2018/2/layout/IconVerticalSolidList"/>
    <dgm:cxn modelId="{6C88C950-9B23-4401-B377-C1D86096D9C1}" type="presParOf" srcId="{BCA4A503-51CA-44F7-B7D8-813C9B5E1D0A}" destId="{3EA4D051-99A1-44ED-A368-2BE40B69C679}" srcOrd="4" destOrd="0" presId="urn:microsoft.com/office/officeart/2018/2/layout/IconVerticalSolidList"/>
    <dgm:cxn modelId="{CE4C5CB4-4B3F-422A-8949-8515FCCAABAE}" type="presParOf" srcId="{EE0F7833-9C43-407B-91F1-EC1485FBCCA9}" destId="{B3DA1C19-FD27-44CC-B6E9-2F6BC395058E}" srcOrd="3" destOrd="0" presId="urn:microsoft.com/office/officeart/2018/2/layout/IconVerticalSolidList"/>
    <dgm:cxn modelId="{EF79360E-76C8-49D3-AAAE-F35C49F18CFF}" type="presParOf" srcId="{EE0F7833-9C43-407B-91F1-EC1485FBCCA9}" destId="{469EAD61-BA8F-40B7-86AD-ED75AA79EBED}" srcOrd="4" destOrd="0" presId="urn:microsoft.com/office/officeart/2018/2/layout/IconVerticalSolidList"/>
    <dgm:cxn modelId="{EAE4153A-A507-4EAF-A92E-F04A61CDCEED}" type="presParOf" srcId="{469EAD61-BA8F-40B7-86AD-ED75AA79EBED}" destId="{0578C110-5C81-4C7E-A9C2-96035AB4B249}" srcOrd="0" destOrd="0" presId="urn:microsoft.com/office/officeart/2018/2/layout/IconVerticalSolidList"/>
    <dgm:cxn modelId="{41154701-A2A3-4770-95A6-83D6DC33B024}" type="presParOf" srcId="{469EAD61-BA8F-40B7-86AD-ED75AA79EBED}" destId="{88A4B865-F5C4-4246-91D6-B72CAED083B8}" srcOrd="1" destOrd="0" presId="urn:microsoft.com/office/officeart/2018/2/layout/IconVerticalSolidList"/>
    <dgm:cxn modelId="{843DE90F-5A58-43B9-9D71-2E96E662CFB5}" type="presParOf" srcId="{469EAD61-BA8F-40B7-86AD-ED75AA79EBED}" destId="{EA9BDFF5-7C97-497F-B286-F653EB686262}" srcOrd="2" destOrd="0" presId="urn:microsoft.com/office/officeart/2018/2/layout/IconVerticalSolidList"/>
    <dgm:cxn modelId="{A7E7BD60-E257-42B9-8304-CABC62B3862F}" type="presParOf" srcId="{469EAD61-BA8F-40B7-86AD-ED75AA79EBED}" destId="{5337694E-C10F-49B9-BCD2-31970CBD793B}" srcOrd="3" destOrd="0" presId="urn:microsoft.com/office/officeart/2018/2/layout/IconVerticalSolidList"/>
    <dgm:cxn modelId="{AD3D1275-A2F4-4224-9C1D-A5805DEC302D}" type="presParOf" srcId="{469EAD61-BA8F-40B7-86AD-ED75AA79EBED}" destId="{7987E815-15D8-46D6-89DB-3C1D3FDB0108}" srcOrd="4" destOrd="0" presId="urn:microsoft.com/office/officeart/2018/2/layout/IconVerticalSolidList"/>
    <dgm:cxn modelId="{6D93261E-EC93-42F0-8D5F-93ACF3EAEEAA}" type="presParOf" srcId="{EE0F7833-9C43-407B-91F1-EC1485FBCCA9}" destId="{E9BACABB-23CB-4DD3-AF3A-5B6FA932F520}" srcOrd="5" destOrd="0" presId="urn:microsoft.com/office/officeart/2018/2/layout/IconVerticalSolidList"/>
    <dgm:cxn modelId="{99E0C59B-E10A-4435-8AEE-FB1BBF9B6996}" type="presParOf" srcId="{EE0F7833-9C43-407B-91F1-EC1485FBCCA9}" destId="{780C10EC-C58D-4DD8-A731-2BAE4D341D8B}" srcOrd="6" destOrd="0" presId="urn:microsoft.com/office/officeart/2018/2/layout/IconVerticalSolidList"/>
    <dgm:cxn modelId="{2BFE5E22-CC3C-4987-AAE2-22808C682918}" type="presParOf" srcId="{780C10EC-C58D-4DD8-A731-2BAE4D341D8B}" destId="{7CF8C4F5-3D79-499F-9785-F06EF3F8835E}" srcOrd="0" destOrd="0" presId="urn:microsoft.com/office/officeart/2018/2/layout/IconVerticalSolidList"/>
    <dgm:cxn modelId="{9B2D8FD6-7C6C-4472-970F-86AAE24A01BC}" type="presParOf" srcId="{780C10EC-C58D-4DD8-A731-2BAE4D341D8B}" destId="{1FCBCCF2-C277-44B9-9691-F81A4801B008}" srcOrd="1" destOrd="0" presId="urn:microsoft.com/office/officeart/2018/2/layout/IconVerticalSolidList"/>
    <dgm:cxn modelId="{213C46A3-464F-446B-9707-1CDE637DD80A}" type="presParOf" srcId="{780C10EC-C58D-4DD8-A731-2BAE4D341D8B}" destId="{F4479448-1E7D-4A95-B672-E469B6B0ABCB}" srcOrd="2" destOrd="0" presId="urn:microsoft.com/office/officeart/2018/2/layout/IconVerticalSolidList"/>
    <dgm:cxn modelId="{63920BC0-62AD-44A5-B3F1-EB2E9EB0C982}" type="presParOf" srcId="{780C10EC-C58D-4DD8-A731-2BAE4D341D8B}" destId="{F14A1643-B0E7-41DE-B2FA-D2834DE9A003}" srcOrd="3" destOrd="0" presId="urn:microsoft.com/office/officeart/2018/2/layout/IconVerticalSolidList"/>
    <dgm:cxn modelId="{E826E017-F8B3-40B0-B8B9-959BF917356A}" type="presParOf" srcId="{780C10EC-C58D-4DD8-A731-2BAE4D341D8B}" destId="{8464DA56-7942-40FF-BD4C-43FD812E2377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39F325-F874-40C8-920E-5678427A05FD}">
      <dsp:nvSpPr>
        <dsp:cNvPr id="0" name=""/>
        <dsp:cNvSpPr/>
      </dsp:nvSpPr>
      <dsp:spPr>
        <a:xfrm>
          <a:off x="0" y="3544"/>
          <a:ext cx="7160583" cy="82493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099BF0-ED35-418F-A3C0-962D51AD0CE4}">
      <dsp:nvSpPr>
        <dsp:cNvPr id="0" name=""/>
        <dsp:cNvSpPr/>
      </dsp:nvSpPr>
      <dsp:spPr>
        <a:xfrm>
          <a:off x="6330890" y="189153"/>
          <a:ext cx="453711" cy="453711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72EBD4-E7D3-4E4E-93ED-8E3456A93490}">
      <dsp:nvSpPr>
        <dsp:cNvPr id="0" name=""/>
        <dsp:cNvSpPr/>
      </dsp:nvSpPr>
      <dsp:spPr>
        <a:xfrm>
          <a:off x="94448" y="3544"/>
          <a:ext cx="4938954" cy="8249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305" tIns="87305" rIns="87305" bIns="87305" numCol="1" spcCol="1270" anchor="ctr" anchorCtr="0">
          <a:noAutofit/>
        </a:bodyPr>
        <a:lstStyle/>
        <a:p>
          <a:pPr lvl="0" algn="r" defTabSz="9779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22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تحليل ترقية </a:t>
          </a:r>
          <a:r>
            <a:rPr lang="ar-SA" sz="2200" kern="1200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AX</a:t>
          </a:r>
          <a:r>
            <a:rPr lang="ar-SA" sz="22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 ‏</a:t>
          </a:r>
          <a:r>
            <a:rPr lang="" sz="2200" kern="1200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2012</a:t>
          </a:r>
        </a:p>
      </dsp:txBody>
      <dsp:txXfrm>
        <a:off x="94448" y="3544"/>
        <a:ext cx="4938954" cy="824930"/>
      </dsp:txXfrm>
    </dsp:sp>
    <dsp:sp modelId="{07FA813C-921A-4C66-813B-A93B86CEDBCE}">
      <dsp:nvSpPr>
        <dsp:cNvPr id="0" name=""/>
        <dsp:cNvSpPr/>
      </dsp:nvSpPr>
      <dsp:spPr>
        <a:xfrm>
          <a:off x="266611" y="141101"/>
          <a:ext cx="2049162" cy="5642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240" tIns="72240" rIns="72240" bIns="72240" numCol="1" spcCol="1270" anchor="ctr" anchorCtr="0">
          <a:noAutofit/>
        </a:bodyPr>
        <a:lstStyle/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عرض </a:t>
          </a: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DMP</a:t>
          </a:r>
        </a:p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خدمات </a:t>
          </a: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LCS</a:t>
          </a:r>
        </a:p>
      </dsp:txBody>
      <dsp:txXfrm>
        <a:off x="266611" y="141101"/>
        <a:ext cx="2049162" cy="564240"/>
      </dsp:txXfrm>
    </dsp:sp>
    <dsp:sp modelId="{E9735D21-E08F-47F2-932A-1CD52549B479}">
      <dsp:nvSpPr>
        <dsp:cNvPr id="0" name=""/>
        <dsp:cNvSpPr/>
      </dsp:nvSpPr>
      <dsp:spPr>
        <a:xfrm>
          <a:off x="0" y="1034707"/>
          <a:ext cx="7160583" cy="82493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54219E-3C24-4C11-8210-44DC1F0B4A42}">
      <dsp:nvSpPr>
        <dsp:cNvPr id="0" name=""/>
        <dsp:cNvSpPr/>
      </dsp:nvSpPr>
      <dsp:spPr>
        <a:xfrm>
          <a:off x="6330890" y="1220316"/>
          <a:ext cx="453711" cy="453711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88C561-88BE-4520-9376-1F8A20B87B77}">
      <dsp:nvSpPr>
        <dsp:cNvPr id="0" name=""/>
        <dsp:cNvSpPr/>
      </dsp:nvSpPr>
      <dsp:spPr>
        <a:xfrm>
          <a:off x="94448" y="1034707"/>
          <a:ext cx="4938954" cy="8249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305" tIns="87305" rIns="87305" bIns="87305" numCol="1" spcCol="1270" anchor="ctr" anchorCtr="0">
          <a:noAutofit/>
        </a:bodyPr>
        <a:lstStyle/>
        <a:p>
          <a:pPr lvl="0" algn="r" defTabSz="9779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22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‏‫تحليل فروق الملاءمة</a:t>
          </a:r>
        </a:p>
      </dsp:txBody>
      <dsp:txXfrm>
        <a:off x="94448" y="1034707"/>
        <a:ext cx="4938954" cy="824930"/>
      </dsp:txXfrm>
    </dsp:sp>
    <dsp:sp modelId="{3EA4D051-99A1-44ED-A368-2BE40B69C679}">
      <dsp:nvSpPr>
        <dsp:cNvPr id="0" name=""/>
        <dsp:cNvSpPr/>
      </dsp:nvSpPr>
      <dsp:spPr>
        <a:xfrm>
          <a:off x="266611" y="1172264"/>
          <a:ext cx="2049162" cy="5642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240" tIns="72240" rIns="72240" bIns="72240" numCol="1" spcCol="1270" anchor="ctr" anchorCtr="0">
          <a:noAutofit/>
        </a:bodyPr>
        <a:lstStyle/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>
              <a:latin typeface="Arial" panose="020B0604020202020204" pitchFamily="34" charset="0"/>
              <a:cs typeface="Arial" panose="020B0604020202020204" pitchFamily="34" charset="0"/>
              <a:rtl/>
            </a:rPr>
            <a:t>الميزات</a:t>
          </a:r>
        </a:p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‏‫‏‫موردو البرامج المستقلون </a:t>
          </a: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(ISV)</a:t>
          </a:r>
        </a:p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>
              <a:latin typeface="Arial" panose="020B0604020202020204" pitchFamily="34" charset="0"/>
              <a:cs typeface="Arial" panose="020B0604020202020204" pitchFamily="34" charset="0"/>
              <a:rtl/>
            </a:rPr>
            <a:t>الترجمة</a:t>
          </a:r>
        </a:p>
      </dsp:txBody>
      <dsp:txXfrm>
        <a:off x="266611" y="1172264"/>
        <a:ext cx="2049162" cy="564240"/>
      </dsp:txXfrm>
    </dsp:sp>
    <dsp:sp modelId="{0578C110-5C81-4C7E-A9C2-96035AB4B249}">
      <dsp:nvSpPr>
        <dsp:cNvPr id="0" name=""/>
        <dsp:cNvSpPr/>
      </dsp:nvSpPr>
      <dsp:spPr>
        <a:xfrm>
          <a:off x="0" y="2065870"/>
          <a:ext cx="7160583" cy="82493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A4B865-F5C4-4246-91D6-B72CAED083B8}">
      <dsp:nvSpPr>
        <dsp:cNvPr id="0" name=""/>
        <dsp:cNvSpPr/>
      </dsp:nvSpPr>
      <dsp:spPr>
        <a:xfrm>
          <a:off x="6357015" y="2251480"/>
          <a:ext cx="453711" cy="453711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37694E-C10F-49B9-BCD2-31970CBD793B}">
      <dsp:nvSpPr>
        <dsp:cNvPr id="0" name=""/>
        <dsp:cNvSpPr/>
      </dsp:nvSpPr>
      <dsp:spPr>
        <a:xfrm>
          <a:off x="94448" y="2065870"/>
          <a:ext cx="4938954" cy="8249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305" tIns="87305" rIns="87305" bIns="87305" numCol="1" spcCol="1270" anchor="ctr" anchorCtr="0">
          <a:noAutofit/>
        </a:bodyPr>
        <a:lstStyle/>
        <a:p>
          <a:pPr lvl="0" algn="r" defTabSz="9779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22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ترقية الرموز</a:t>
          </a:r>
        </a:p>
      </dsp:txBody>
      <dsp:txXfrm>
        <a:off x="94448" y="2065870"/>
        <a:ext cx="4938954" cy="824930"/>
      </dsp:txXfrm>
    </dsp:sp>
    <dsp:sp modelId="{7987E815-15D8-46D6-89DB-3C1D3FDB0108}">
      <dsp:nvSpPr>
        <dsp:cNvPr id="0" name=""/>
        <dsp:cNvSpPr/>
      </dsp:nvSpPr>
      <dsp:spPr>
        <a:xfrm>
          <a:off x="266611" y="2203427"/>
          <a:ext cx="2049162" cy="5642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240" tIns="72240" rIns="72240" bIns="72240" numCol="1" spcCol="1270" anchor="ctr" anchorCtr="0">
          <a:noAutofit/>
        </a:bodyPr>
        <a:lstStyle/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 val="0"/>
            </a:rPr>
            <a:t>Lifecycle Services</a:t>
          </a:r>
        </a:p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الملحقات</a:t>
          </a:r>
        </a:p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إعادة التصميم</a:t>
          </a:r>
        </a:p>
      </dsp:txBody>
      <dsp:txXfrm>
        <a:off x="266611" y="2203427"/>
        <a:ext cx="2049162" cy="564240"/>
      </dsp:txXfrm>
    </dsp:sp>
    <dsp:sp modelId="{7CF8C4F5-3D79-499F-9785-F06EF3F8835E}">
      <dsp:nvSpPr>
        <dsp:cNvPr id="0" name=""/>
        <dsp:cNvSpPr/>
      </dsp:nvSpPr>
      <dsp:spPr>
        <a:xfrm>
          <a:off x="0" y="3097034"/>
          <a:ext cx="7160583" cy="82493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CBCCF2-C277-44B9-9691-F81A4801B008}">
      <dsp:nvSpPr>
        <dsp:cNvPr id="0" name=""/>
        <dsp:cNvSpPr/>
      </dsp:nvSpPr>
      <dsp:spPr>
        <a:xfrm>
          <a:off x="6330890" y="3282643"/>
          <a:ext cx="453711" cy="453711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4A1643-B0E7-41DE-B2FA-D2834DE9A003}">
      <dsp:nvSpPr>
        <dsp:cNvPr id="0" name=""/>
        <dsp:cNvSpPr/>
      </dsp:nvSpPr>
      <dsp:spPr>
        <a:xfrm>
          <a:off x="94448" y="3097034"/>
          <a:ext cx="4938954" cy="8249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305" tIns="87305" rIns="87305" bIns="87305" numCol="1" spcCol="1270" anchor="ctr" anchorCtr="0">
          <a:noAutofit/>
        </a:bodyPr>
        <a:lstStyle/>
        <a:p>
          <a:pPr lvl="0" algn="r" defTabSz="9779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22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ترقية/ترحيل البيانات</a:t>
          </a:r>
        </a:p>
      </dsp:txBody>
      <dsp:txXfrm>
        <a:off x="94448" y="3097034"/>
        <a:ext cx="4938954" cy="824930"/>
      </dsp:txXfrm>
    </dsp:sp>
    <dsp:sp modelId="{8464DA56-7942-40FF-BD4C-43FD812E2377}">
      <dsp:nvSpPr>
        <dsp:cNvPr id="0" name=""/>
        <dsp:cNvSpPr/>
      </dsp:nvSpPr>
      <dsp:spPr>
        <a:xfrm>
          <a:off x="266611" y="3234590"/>
          <a:ext cx="2049162" cy="5642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240" tIns="72240" rIns="72240" bIns="72240" numCol="1" spcCol="1270" anchor="ctr" anchorCtr="0">
          <a:noAutofit/>
        </a:bodyPr>
        <a:lstStyle/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 dirty="0">
              <a:latin typeface="Arial" panose="020B0604020202020204" pitchFamily="34" charset="0"/>
              <a:cs typeface="Arial" panose="020B0604020202020204" pitchFamily="34" charset="0"/>
              <a:rtl/>
            </a:rPr>
            <a:t>حزم ترقية البيانات</a:t>
          </a:r>
        </a:p>
        <a:p>
          <a:pPr lvl="0" algn="r" defTabSz="4889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100" kern="1200" baseline="0">
              <a:latin typeface="Arial" panose="020B0604020202020204" pitchFamily="34" charset="0"/>
              <a:cs typeface="Arial" panose="020B0604020202020204" pitchFamily="34" charset="0"/>
              <a:rtl val="0"/>
            </a:rPr>
            <a:t>DMF</a:t>
          </a:r>
        </a:p>
      </dsp:txBody>
      <dsp:txXfrm>
        <a:off x="266611" y="3234590"/>
        <a:ext cx="2049162" cy="5642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99269A-F472-4A51-B219-0D6687FFACD5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7E2E73-2568-423F-BD2F-EAA0343B6B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5243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7/14/2021 3:15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0062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7/14/2021 3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633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pgrade-process.p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7E2E73-2568-423F-BD2F-EAA0343B6B9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1365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18C7F0-8EFB-4BB2-B1A8-0823757045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rtlCol="1" anchor="b"/>
          <a:lstStyle>
            <a:lvl1pPr algn="ctr" rtl="1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889555C-7EED-4E28-BA63-7268D11708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 rtlCol="1"/>
          <a:lstStyle>
            <a:lvl1pPr marL="0" indent="0" algn="ctr" rtl="1">
              <a:buNone/>
              <a:defRPr sz="2400"/>
            </a:lvl1pPr>
            <a:lvl2pPr marL="457200" indent="0" algn="ctr" rtl="1">
              <a:buNone/>
              <a:defRPr sz="2000"/>
            </a:lvl2pPr>
            <a:lvl3pPr marL="914400" indent="0" algn="ctr" rtl="1">
              <a:buNone/>
              <a:defRPr sz="1800"/>
            </a:lvl3pPr>
            <a:lvl4pPr marL="1371600" indent="0" algn="ctr" rtl="1">
              <a:buNone/>
              <a:defRPr sz="1600"/>
            </a:lvl4pPr>
            <a:lvl5pPr marL="1828800" indent="0" algn="ctr" rtl="1">
              <a:buNone/>
              <a:defRPr sz="1600"/>
            </a:lvl5pPr>
            <a:lvl6pPr marL="2286000" indent="0" algn="ctr" rtl="1">
              <a:buNone/>
              <a:defRPr sz="1600"/>
            </a:lvl6pPr>
            <a:lvl7pPr marL="2743200" indent="0" algn="ctr" rtl="1">
              <a:buNone/>
              <a:defRPr sz="1600"/>
            </a:lvl7pPr>
            <a:lvl8pPr marL="3200400" indent="0" algn="ctr" rtl="1">
              <a:buNone/>
              <a:defRPr sz="1600"/>
            </a:lvl8pPr>
            <a:lvl9pPr marL="3657600" indent="0" algn="ctr" rtl="1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476D6CC-E986-47D5-A696-26C44E1DF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8BD628B-819E-4A7D-A5BD-6F8785DA0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7733DD8-95B5-47F6-8E8D-72016FFCA3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818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C82954-0109-4C24-92E5-C0B09915A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9FF6CA9-E1B8-48D7-B540-E4481274AB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C508B5E-A148-4824-9A53-77B9BBB05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AE574D7-97B3-4941-A38E-10B437DB0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A6A14DA-A602-41A8-BA88-51F2FE1CA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4708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39A0EB57-F214-4FFB-B659-7E8EB88F92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CF80F27-BE90-446A-AF5A-0CD4A66DB2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3D5D3D5-7EA1-4864-A895-7D17D8BF3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3388136-B620-4289-8BA3-16C8E2B39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44313A0-BBF3-47F8-8E69-BF769F329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244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AF38D0-80AF-4425-8F4B-23E1013CD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E613568-F5CA-4C1C-AC2B-111C62E63B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ACE0D65-E520-4355-90E8-14D0D10E5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5CE2504-6E0B-48B6-AC63-4DF20507E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333CBF0-93E6-4707-8AE2-5B5CB5145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422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B669D5E-BC4E-4C71-9C9D-5FFF3DB70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rtlCol="1" anchor="b"/>
          <a:lstStyle>
            <a:lvl1pPr algn="r" rtl="1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3CE1B20-BDB5-4E92-A921-9B3960025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 rtlCol="1"/>
          <a:lstStyle>
            <a:lvl1pPr marL="0" indent="0" algn="r" rtl="1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r" rtl="1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r" rtl="1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35F510A-9CE1-4A13-9A5E-F90B94427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FA621F6-9680-43F5-B3A7-75C61E4B7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388A7DD-8F17-49C6-8EE9-79256A12D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712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1CB8690-F081-45E7-AF5E-C565A1AE0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EE2366-63DD-4E41-A4BB-34D9588831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B18FC584-1250-4054-BC89-B08831F25B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AD4DC86-5D4D-4A34-83E8-28C56E2F29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F28B04C-47AE-4FD3-A622-FA520218E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9F32AE1-ED6E-4128-8849-B68CA080B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853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62B615-C671-49F7-BD76-C710512F8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282A2DE-EB4B-4E96-AE4E-5EDC4F1641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rtlCol="1" anchor="b"/>
          <a:lstStyle>
            <a:lvl1pPr marL="0" indent="0" algn="r" rtl="1">
              <a:buNone/>
              <a:defRPr sz="2400" b="1"/>
            </a:lvl1pPr>
            <a:lvl2pPr marL="457200" indent="0" algn="r" rtl="1">
              <a:buNone/>
              <a:defRPr sz="2000" b="1"/>
            </a:lvl2pPr>
            <a:lvl3pPr marL="914400" indent="0" algn="r" rtl="1">
              <a:buNone/>
              <a:defRPr sz="1800" b="1"/>
            </a:lvl3pPr>
            <a:lvl4pPr marL="1371600" indent="0" algn="r" rtl="1">
              <a:buNone/>
              <a:defRPr sz="1600" b="1"/>
            </a:lvl4pPr>
            <a:lvl5pPr marL="1828800" indent="0" algn="r" rtl="1">
              <a:buNone/>
              <a:defRPr sz="1600" b="1"/>
            </a:lvl5pPr>
            <a:lvl6pPr marL="2286000" indent="0" algn="r" rtl="1">
              <a:buNone/>
              <a:defRPr sz="1600" b="1"/>
            </a:lvl6pPr>
            <a:lvl7pPr marL="2743200" indent="0" algn="r" rtl="1">
              <a:buNone/>
              <a:defRPr sz="1600" b="1"/>
            </a:lvl7pPr>
            <a:lvl8pPr marL="3200400" indent="0" algn="r" rtl="1">
              <a:buNone/>
              <a:defRPr sz="1600" b="1"/>
            </a:lvl8pPr>
            <a:lvl9pPr marL="3657600" indent="0" algn="r" rtl="1">
              <a:buNone/>
              <a:defRPr sz="1600" b="1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612A6FB-6D2A-4FF8-8F8F-B7D3048E9C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2FCB8F7-B508-42D9-9519-8D21783F05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rtlCol="1" anchor="b"/>
          <a:lstStyle>
            <a:lvl1pPr marL="0" indent="0" algn="r" rtl="1">
              <a:buNone/>
              <a:defRPr sz="2400" b="1"/>
            </a:lvl1pPr>
            <a:lvl2pPr marL="457200" indent="0" algn="r" rtl="1">
              <a:buNone/>
              <a:defRPr sz="2000" b="1"/>
            </a:lvl2pPr>
            <a:lvl3pPr marL="914400" indent="0" algn="r" rtl="1">
              <a:buNone/>
              <a:defRPr sz="1800" b="1"/>
            </a:lvl3pPr>
            <a:lvl4pPr marL="1371600" indent="0" algn="r" rtl="1">
              <a:buNone/>
              <a:defRPr sz="1600" b="1"/>
            </a:lvl4pPr>
            <a:lvl5pPr marL="1828800" indent="0" algn="r" rtl="1">
              <a:buNone/>
              <a:defRPr sz="1600" b="1"/>
            </a:lvl5pPr>
            <a:lvl6pPr marL="2286000" indent="0" algn="r" rtl="1">
              <a:buNone/>
              <a:defRPr sz="1600" b="1"/>
            </a:lvl6pPr>
            <a:lvl7pPr marL="2743200" indent="0" algn="r" rtl="1">
              <a:buNone/>
              <a:defRPr sz="1600" b="1"/>
            </a:lvl7pPr>
            <a:lvl8pPr marL="3200400" indent="0" algn="r" rtl="1">
              <a:buNone/>
              <a:defRPr sz="1600" b="1"/>
            </a:lvl8pPr>
            <a:lvl9pPr marL="3657600" indent="0" algn="r" rtl="1">
              <a:buNone/>
              <a:defRPr sz="1600" b="1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281C5B1B-A4C8-496D-A478-76807C0EAC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9D93C0DC-C5DE-4951-8992-F6D4533F92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58F2FD6-0AE3-4D5A-B162-933F901FC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D05BC531-82E5-4170-88BD-72753605C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1835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76EBD6-8FFA-4EB8-B219-5D1FF85F4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32ADD6E3-4395-450F-B80F-E9FA97298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CD19A62-5757-44AC-94E1-81A30C590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E652EAC-E978-424E-9FAE-3DD5ABF5B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7847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072AFBA-3A27-4EC8-9E7E-8B1B9C5C50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3E2BA5B4-8DE8-4CA3-B5CE-64077CE12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423E47F-6D42-4B3B-9FB1-E96BFA4AD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875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1450F9-A2D8-4304-BD4B-DEEA95135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1" anchor="b"/>
          <a:lstStyle>
            <a:lvl1pPr algn="r" rtl="1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1AEB8FF-C989-4B65-B79F-FE56154898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 rtlCol="1"/>
          <a:lstStyle>
            <a:lvl1pPr algn="r" rtl="1">
              <a:defRPr sz="3200"/>
            </a:lvl1pPr>
            <a:lvl2pPr algn="r" rtl="1">
              <a:defRPr sz="2800"/>
            </a:lvl2pPr>
            <a:lvl3pPr algn="r" rtl="1">
              <a:defRPr sz="2400"/>
            </a:lvl3pPr>
            <a:lvl4pPr algn="r" rtl="1">
              <a:defRPr sz="2000"/>
            </a:lvl4pPr>
            <a:lvl5pPr algn="r" rtl="1">
              <a:defRPr sz="2000"/>
            </a:lvl5pPr>
            <a:lvl6pPr algn="r" rtl="1">
              <a:defRPr sz="2000"/>
            </a:lvl6pPr>
            <a:lvl7pPr algn="r" rtl="1">
              <a:defRPr sz="2000"/>
            </a:lvl7pPr>
            <a:lvl8pPr algn="r" rtl="1">
              <a:defRPr sz="2000"/>
            </a:lvl8pPr>
            <a:lvl9pPr algn="r" rtl="1">
              <a:defRPr sz="2000"/>
            </a:lvl9pPr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E0B9D0B-BDB5-425D-95DC-66657CA50C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1"/>
          <a:lstStyle>
            <a:lvl1pPr marL="0" indent="0" algn="r" rtl="1">
              <a:buNone/>
              <a:defRPr sz="1600"/>
            </a:lvl1pPr>
            <a:lvl2pPr marL="457200" indent="0" algn="r" rtl="1">
              <a:buNone/>
              <a:defRPr sz="1400"/>
            </a:lvl2pPr>
            <a:lvl3pPr marL="914400" indent="0" algn="r" rtl="1">
              <a:buNone/>
              <a:defRPr sz="1200"/>
            </a:lvl3pPr>
            <a:lvl4pPr marL="1371600" indent="0" algn="r" rtl="1">
              <a:buNone/>
              <a:defRPr sz="1000"/>
            </a:lvl4pPr>
            <a:lvl5pPr marL="1828800" indent="0" algn="r" rtl="1">
              <a:buNone/>
              <a:defRPr sz="1000"/>
            </a:lvl5pPr>
            <a:lvl6pPr marL="2286000" indent="0" algn="r" rtl="1">
              <a:buNone/>
              <a:defRPr sz="1000"/>
            </a:lvl6pPr>
            <a:lvl7pPr marL="2743200" indent="0" algn="r" rtl="1">
              <a:buNone/>
              <a:defRPr sz="1000"/>
            </a:lvl7pPr>
            <a:lvl8pPr marL="3200400" indent="0" algn="r" rtl="1">
              <a:buNone/>
              <a:defRPr sz="1000"/>
            </a:lvl8pPr>
            <a:lvl9pPr marL="3657600" indent="0" algn="r" rtl="1">
              <a:buNone/>
              <a:defRPr sz="1000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4AC01E8-89FE-4525-B783-A02BAA37D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FA24E9C-841E-4442-A054-0751DE66C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1C16905-8523-4B2A-8498-299BB6554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1251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C9D5FA9-44E6-462D-AAC1-B8A3EC8E0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1" anchor="b"/>
          <a:lstStyle>
            <a:lvl1pPr algn="r" rtl="1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DBE2937A-2A35-46E5-9D99-3857E7CCF5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1"/>
          <a:lstStyle>
            <a:lvl1pPr marL="0" indent="0" algn="r" rtl="1">
              <a:buNone/>
              <a:defRPr sz="3200"/>
            </a:lvl1pPr>
            <a:lvl2pPr marL="457200" indent="0" algn="r" rtl="1">
              <a:buNone/>
              <a:defRPr sz="2800"/>
            </a:lvl2pPr>
            <a:lvl3pPr marL="914400" indent="0" algn="r" rtl="1">
              <a:buNone/>
              <a:defRPr sz="2400"/>
            </a:lvl3pPr>
            <a:lvl4pPr marL="1371600" indent="0" algn="r" rtl="1">
              <a:buNone/>
              <a:defRPr sz="2000"/>
            </a:lvl4pPr>
            <a:lvl5pPr marL="1828800" indent="0" algn="r" rtl="1">
              <a:buNone/>
              <a:defRPr sz="2000"/>
            </a:lvl5pPr>
            <a:lvl6pPr marL="2286000" indent="0" algn="r" rtl="1">
              <a:buNone/>
              <a:defRPr sz="2000"/>
            </a:lvl6pPr>
            <a:lvl7pPr marL="2743200" indent="0" algn="r" rtl="1">
              <a:buNone/>
              <a:defRPr sz="2000"/>
            </a:lvl7pPr>
            <a:lvl8pPr marL="3200400" indent="0" algn="r" rtl="1">
              <a:buNone/>
              <a:defRPr sz="2000"/>
            </a:lvl8pPr>
            <a:lvl9pPr marL="3657600" indent="0" algn="r" rtl="1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8AD9267-97B3-4A11-82E2-849B4A89D0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1"/>
          <a:lstStyle>
            <a:lvl1pPr marL="0" indent="0" algn="r" rtl="1">
              <a:buNone/>
              <a:defRPr sz="1600"/>
            </a:lvl1pPr>
            <a:lvl2pPr marL="457200" indent="0" algn="r" rtl="1">
              <a:buNone/>
              <a:defRPr sz="1400"/>
            </a:lvl2pPr>
            <a:lvl3pPr marL="914400" indent="0" algn="r" rtl="1">
              <a:buNone/>
              <a:defRPr sz="1200"/>
            </a:lvl3pPr>
            <a:lvl4pPr marL="1371600" indent="0" algn="r" rtl="1">
              <a:buNone/>
              <a:defRPr sz="1000"/>
            </a:lvl4pPr>
            <a:lvl5pPr marL="1828800" indent="0" algn="r" rtl="1">
              <a:buNone/>
              <a:defRPr sz="1000"/>
            </a:lvl5pPr>
            <a:lvl6pPr marL="2286000" indent="0" algn="r" rtl="1">
              <a:buNone/>
              <a:defRPr sz="1000"/>
            </a:lvl6pPr>
            <a:lvl7pPr marL="2743200" indent="0" algn="r" rtl="1">
              <a:buNone/>
              <a:defRPr sz="1000"/>
            </a:lvl7pPr>
            <a:lvl8pPr marL="3200400" indent="0" algn="r" rtl="1">
              <a:buNone/>
              <a:defRPr sz="1000"/>
            </a:lvl8pPr>
            <a:lvl9pPr marL="3657600" indent="0" algn="r" rtl="1">
              <a:buNone/>
              <a:defRPr sz="1000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1378C69-441F-4F67-93AD-C87284BE3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9225EEE-21B7-4924-8DB0-D39804E4E6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9BAB973-0516-49C0-8441-EC87DAE2D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2185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909AC8CF-6210-44BB-93CD-29E12DCC7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1AE4667-F6EF-426B-8C62-C5E773B81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DC82F82-3481-4D62-A68A-472946CDCD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0F4D04-889B-4C98-AE7C-5438064CBC3E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E06D195-D97E-49EB-B056-BAB58F7D7E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A74E5C1-438E-4E23-8A25-C8B7FA82A1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DFCDE6-8E8D-4A53-8CEC-CDE80DF7C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910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xmlns="" id="{5E976FBF-4F6D-4DF9-A2DB-309326184B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xmlns="" id="{5E976FBF-4F6D-4DF9-A2DB-309326184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xmlns="" id="{CE8C4204-A51F-4E83-BF2F-17E3A876D4D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GB" sz="3600" err="1">
              <a:solidFill>
                <a:srgbClr val="FFFFFF"/>
              </a:soli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6C04970-B588-42C0-B600-AAAE94A5C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A">
                <a:latin typeface="Arial" panose="020B0604020202020204" pitchFamily="34" charset="0"/>
                <a:cs typeface="Arial" panose="020B0604020202020204" pitchFamily="34" charset="0"/>
                <a:rtl/>
              </a:rPr>
              <a:t>نظرة عامة على الإجراء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970BDBF4-24AB-4241-8CF8-1A27F23FAF08}"/>
              </a:ext>
            </a:extLst>
          </p:cNvPr>
          <p:cNvGrpSpPr/>
          <p:nvPr/>
        </p:nvGrpSpPr>
        <p:grpSpPr>
          <a:xfrm flipH="1">
            <a:off x="791777" y="1481064"/>
            <a:ext cx="2477534" cy="2477534"/>
            <a:chOff x="8613738" y="1278258"/>
            <a:chExt cx="2037854" cy="203785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B09EBC1F-6314-4D47-BEA0-DCE798A85150}"/>
                </a:ext>
              </a:extLst>
            </p:cNvPr>
            <p:cNvGrpSpPr/>
            <p:nvPr/>
          </p:nvGrpSpPr>
          <p:grpSpPr>
            <a:xfrm>
              <a:off x="8613738" y="1278258"/>
              <a:ext cx="2037854" cy="2037854"/>
              <a:chOff x="581594" y="3756890"/>
              <a:chExt cx="2421604" cy="2421604"/>
            </a:xfrm>
          </p:grpSpPr>
          <p:sp>
            <p:nvSpPr>
              <p:cNvPr id="8" name="Arc 7">
                <a:extLst>
                  <a:ext uri="{FF2B5EF4-FFF2-40B4-BE49-F238E27FC236}">
                    <a16:creationId xmlns:a16="http://schemas.microsoft.com/office/drawing/2014/main" xmlns="" id="{6F795EBF-1BD9-4B05-9092-CBECF07B622D}"/>
                  </a:ext>
                </a:extLst>
              </p:cNvPr>
              <p:cNvSpPr/>
              <p:nvPr/>
            </p:nvSpPr>
            <p:spPr bwMode="auto">
              <a:xfrm flipV="1">
                <a:off x="581594" y="3756890"/>
                <a:ext cx="2421604" cy="2421604"/>
              </a:xfrm>
              <a:prstGeom prst="arc">
                <a:avLst>
                  <a:gd name="adj1" fmla="val 10767591"/>
                  <a:gd name="adj2" fmla="val 0"/>
                </a:avLst>
              </a:prstGeom>
              <a:solidFill>
                <a:schemeClr val="bg1"/>
              </a:solidFill>
              <a:ln w="28575" cap="rnd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" name="Arc 8">
                <a:extLst>
                  <a:ext uri="{FF2B5EF4-FFF2-40B4-BE49-F238E27FC236}">
                    <a16:creationId xmlns:a16="http://schemas.microsoft.com/office/drawing/2014/main" xmlns="" id="{DCA05D04-23D2-4746-A116-46994457BD41}"/>
                  </a:ext>
                </a:extLst>
              </p:cNvPr>
              <p:cNvSpPr/>
              <p:nvPr/>
            </p:nvSpPr>
            <p:spPr bwMode="auto">
              <a:xfrm>
                <a:off x="581594" y="3756890"/>
                <a:ext cx="2421604" cy="2421604"/>
              </a:xfrm>
              <a:prstGeom prst="arc">
                <a:avLst>
                  <a:gd name="adj1" fmla="val 10920762"/>
                  <a:gd name="adj2" fmla="val 20859191"/>
                </a:avLst>
              </a:prstGeom>
              <a:solidFill>
                <a:schemeClr val="bg1"/>
              </a:solidFill>
              <a:ln w="19050">
                <a:solidFill>
                  <a:schemeClr val="bg1">
                    <a:lumMod val="75000"/>
                  </a:schemeClr>
                </a:solidFill>
                <a:prstDash val="dash"/>
                <a:headEnd type="none" w="med" len="med"/>
                <a:tailEnd type="oval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0" rIns="182880" bIns="146304" numCol="1" spcCol="0" rtlCol="1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solidFill>
                    <a:srgbClr val="FFFFFF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xmlns="" id="{B7E733B9-45F5-40CC-A7C9-9895CC2B4191}"/>
                </a:ext>
              </a:extLst>
            </p:cNvPr>
            <p:cNvSpPr/>
            <p:nvPr/>
          </p:nvSpPr>
          <p:spPr bwMode="auto">
            <a:xfrm>
              <a:off x="8716459" y="1382033"/>
              <a:ext cx="1830305" cy="1830305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0" rIns="0" bIns="0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24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تحقق من الصحة</a:t>
              </a:r>
            </a:p>
          </p:txBody>
        </p:sp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C2FA4F86-66D0-475A-ACCC-27FEF9DE9CBD}"/>
              </a:ext>
            </a:extLst>
          </p:cNvPr>
          <p:cNvCxnSpPr>
            <a:cxnSpLocks/>
          </p:cNvCxnSpPr>
          <p:nvPr/>
        </p:nvCxnSpPr>
        <p:spPr>
          <a:xfrm flipH="1" flipV="1">
            <a:off x="3269256" y="2708153"/>
            <a:ext cx="1239457" cy="0"/>
          </a:xfrm>
          <a:prstGeom prst="straightConnector1">
            <a:avLst/>
          </a:prstGeom>
          <a:solidFill>
            <a:schemeClr val="bg1"/>
          </a:solidFill>
          <a:ln w="28575" cap="rnd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xmlns="" id="{FBC9E3BE-46EF-4965-A86A-13EBD6F7C1DF}"/>
              </a:ext>
            </a:extLst>
          </p:cNvPr>
          <p:cNvCxnSpPr>
            <a:cxnSpLocks/>
          </p:cNvCxnSpPr>
          <p:nvPr/>
        </p:nvCxnSpPr>
        <p:spPr>
          <a:xfrm flipH="1" flipV="1">
            <a:off x="6986234" y="2709813"/>
            <a:ext cx="1239414" cy="0"/>
          </a:xfrm>
          <a:prstGeom prst="straightConnector1">
            <a:avLst/>
          </a:prstGeom>
          <a:solidFill>
            <a:schemeClr val="bg1"/>
          </a:solidFill>
          <a:ln w="28575" cap="rnd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6B46D054-3E04-44D1-AE61-E590F60A2992}"/>
              </a:ext>
            </a:extLst>
          </p:cNvPr>
          <p:cNvGrpSpPr/>
          <p:nvPr/>
        </p:nvGrpSpPr>
        <p:grpSpPr>
          <a:xfrm flipH="1">
            <a:off x="8225648" y="1481064"/>
            <a:ext cx="2477534" cy="2477534"/>
            <a:chOff x="1179867" y="1278258"/>
            <a:chExt cx="2037854" cy="2037854"/>
          </a:xfrm>
        </p:grpSpPr>
        <p:sp>
          <p:nvSpPr>
            <p:cNvPr id="12" name="Arc 11">
              <a:extLst>
                <a:ext uri="{FF2B5EF4-FFF2-40B4-BE49-F238E27FC236}">
                  <a16:creationId xmlns:a16="http://schemas.microsoft.com/office/drawing/2014/main" xmlns="" id="{9890BAD9-7E07-4DC6-9575-72AB2818EFF3}"/>
                </a:ext>
              </a:extLst>
            </p:cNvPr>
            <p:cNvSpPr/>
            <p:nvPr/>
          </p:nvSpPr>
          <p:spPr bwMode="auto">
            <a:xfrm flipV="1">
              <a:off x="1179867" y="1278258"/>
              <a:ext cx="2037854" cy="2037854"/>
            </a:xfrm>
            <a:prstGeom prst="arc">
              <a:avLst>
                <a:gd name="adj1" fmla="val 10783659"/>
                <a:gd name="adj2" fmla="val 0"/>
              </a:avLst>
            </a:prstGeom>
            <a:solidFill>
              <a:schemeClr val="bg1"/>
            </a:solidFill>
            <a:ln w="28575" cap="rnd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Arc 12">
              <a:extLst>
                <a:ext uri="{FF2B5EF4-FFF2-40B4-BE49-F238E27FC236}">
                  <a16:creationId xmlns:a16="http://schemas.microsoft.com/office/drawing/2014/main" xmlns="" id="{D67C0A3B-7BC8-4DCE-ABCE-3FAD53BDB7A8}"/>
                </a:ext>
              </a:extLst>
            </p:cNvPr>
            <p:cNvSpPr/>
            <p:nvPr/>
          </p:nvSpPr>
          <p:spPr bwMode="auto">
            <a:xfrm>
              <a:off x="1179867" y="1278258"/>
              <a:ext cx="2037854" cy="2037854"/>
            </a:xfrm>
            <a:prstGeom prst="arc">
              <a:avLst>
                <a:gd name="adj1" fmla="val 10783659"/>
                <a:gd name="adj2" fmla="val 20859191"/>
              </a:avLst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oval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0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xmlns="" id="{6CA5A529-9579-4C50-85D6-41F0E89959FF}"/>
                </a:ext>
              </a:extLst>
            </p:cNvPr>
            <p:cNvSpPr/>
            <p:nvPr/>
          </p:nvSpPr>
          <p:spPr bwMode="auto">
            <a:xfrm>
              <a:off x="1283642" y="1382033"/>
              <a:ext cx="1830305" cy="1830305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0" rIns="0" bIns="0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800100" rtl="1">
                <a:spcBef>
                  <a:spcPct val="0"/>
                </a:spcBef>
                <a:spcAft>
                  <a:spcPct val="35000"/>
                </a:spcAft>
              </a:pPr>
              <a:r>
                <a:rPr lang="ar-SA" sz="24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تحليل</a:t>
              </a:r>
              <a:endParaRPr lang="en-GB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D69D4C5-2E0B-42A8-896F-CC87EBDA6D7B}"/>
              </a:ext>
            </a:extLst>
          </p:cNvPr>
          <p:cNvSpPr/>
          <p:nvPr/>
        </p:nvSpPr>
        <p:spPr bwMode="auto">
          <a:xfrm flipH="1">
            <a:off x="7665742" y="4148818"/>
            <a:ext cx="3597345" cy="212021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spcBef>
                <a:spcPct val="0"/>
              </a:spcBef>
              <a:spcAft>
                <a:spcPct val="0"/>
              </a:spcAft>
            </a:pPr>
            <a:r>
              <a:rPr lang="ar-SA" sz="2400">
                <a:solidFill>
                  <a:schemeClr val="tx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/>
              </a:rPr>
              <a:t>تقييم الترقية، وتقدير التكاليف، وإنشاء خطة.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2CA57593-5118-493A-A9D7-4CF6B142AE93}"/>
              </a:ext>
            </a:extLst>
          </p:cNvPr>
          <p:cNvSpPr/>
          <p:nvPr/>
        </p:nvSpPr>
        <p:spPr bwMode="auto">
          <a:xfrm flipH="1">
            <a:off x="4274892" y="4148818"/>
            <a:ext cx="2945174" cy="212021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1"/>
            <a:r>
              <a:rPr lang="ar-SA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إكمال المهام المحددة أثناء مرحلة التحليل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BB684F33-F2A6-4F3E-A315-F2FBF541CB3D}"/>
              </a:ext>
            </a:extLst>
          </p:cNvPr>
          <p:cNvSpPr/>
          <p:nvPr/>
        </p:nvSpPr>
        <p:spPr bwMode="auto">
          <a:xfrm flipH="1">
            <a:off x="588263" y="4148818"/>
            <a:ext cx="2884560" cy="212021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spcBef>
                <a:spcPct val="0"/>
              </a:spcBef>
              <a:spcAft>
                <a:spcPct val="0"/>
              </a:spcAft>
            </a:pPr>
            <a:r>
              <a:rPr lang="ar-SA" sz="2400">
                <a:solidFill>
                  <a:schemeClr val="tx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/>
              </a:rPr>
              <a:t>اجتياز الاختبار الوظيفي، الاختبار المرحلي، العرض المباشر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04349523-AE18-4D56-9CD6-C0851F7AD93B}"/>
              </a:ext>
            </a:extLst>
          </p:cNvPr>
          <p:cNvGrpSpPr/>
          <p:nvPr/>
        </p:nvGrpSpPr>
        <p:grpSpPr>
          <a:xfrm flipH="1">
            <a:off x="4508713" y="1470416"/>
            <a:ext cx="2477534" cy="2477534"/>
            <a:chOff x="4896802" y="1267610"/>
            <a:chExt cx="2037854" cy="2037854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xmlns="" id="{0BC2F096-25D3-450B-890C-832DB34C966E}"/>
                </a:ext>
              </a:extLst>
            </p:cNvPr>
            <p:cNvSpPr/>
            <p:nvPr/>
          </p:nvSpPr>
          <p:spPr bwMode="auto">
            <a:xfrm>
              <a:off x="4896802" y="1267610"/>
              <a:ext cx="2037854" cy="2037854"/>
            </a:xfrm>
            <a:prstGeom prst="arc">
              <a:avLst>
                <a:gd name="adj1" fmla="val 10815875"/>
                <a:gd name="adj2" fmla="val 0"/>
              </a:avLst>
            </a:prstGeom>
            <a:solidFill>
              <a:schemeClr val="bg1"/>
            </a:solidFill>
            <a:ln w="28575" cap="rnd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Arc 4">
              <a:extLst>
                <a:ext uri="{FF2B5EF4-FFF2-40B4-BE49-F238E27FC236}">
                  <a16:creationId xmlns:a16="http://schemas.microsoft.com/office/drawing/2014/main" xmlns="" id="{A16B8C73-BB49-4F1E-980A-8BCFA7FBFBD1}"/>
                </a:ext>
              </a:extLst>
            </p:cNvPr>
            <p:cNvSpPr/>
            <p:nvPr/>
          </p:nvSpPr>
          <p:spPr bwMode="auto">
            <a:xfrm flipV="1">
              <a:off x="4896802" y="1267610"/>
              <a:ext cx="2037854" cy="2037854"/>
            </a:xfrm>
            <a:prstGeom prst="arc">
              <a:avLst>
                <a:gd name="adj1" fmla="val 10848684"/>
                <a:gd name="adj2" fmla="val 20859191"/>
              </a:avLst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oval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914400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xmlns="" id="{5C6C3C21-76E7-4542-B10A-0E3BAD06923D}"/>
                </a:ext>
              </a:extLst>
            </p:cNvPr>
            <p:cNvSpPr/>
            <p:nvPr/>
          </p:nvSpPr>
          <p:spPr bwMode="auto">
            <a:xfrm>
              <a:off x="5000577" y="1371385"/>
              <a:ext cx="1830305" cy="1830305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914400" rIns="0" bIns="0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24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تنفيذ</a:t>
              </a:r>
            </a:p>
          </p:txBody>
        </p:sp>
      </p:grpSp>
      <p:grpSp>
        <p:nvGrpSpPr>
          <p:cNvPr id="71" name="Graphic 103">
            <a:extLst>
              <a:ext uri="{FF2B5EF4-FFF2-40B4-BE49-F238E27FC236}">
                <a16:creationId xmlns:a16="http://schemas.microsoft.com/office/drawing/2014/main" xmlns="" id="{F64AFB97-EBA5-4675-86AE-D3702CBF5533}"/>
              </a:ext>
            </a:extLst>
          </p:cNvPr>
          <p:cNvGrpSpPr/>
          <p:nvPr/>
        </p:nvGrpSpPr>
        <p:grpSpPr>
          <a:xfrm>
            <a:off x="9135792" y="2035983"/>
            <a:ext cx="657244" cy="570762"/>
            <a:chOff x="5464401" y="5731801"/>
            <a:chExt cx="465183" cy="403975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0F463BCE-6EB4-40E2-9D9C-FC7E8912CB88}"/>
                </a:ext>
              </a:extLst>
            </p:cNvPr>
            <p:cNvSpPr/>
            <p:nvPr/>
          </p:nvSpPr>
          <p:spPr>
            <a:xfrm>
              <a:off x="5628439" y="5738166"/>
              <a:ext cx="298941" cy="298941"/>
            </a:xfrm>
            <a:custGeom>
              <a:avLst/>
              <a:gdLst>
                <a:gd name="connsiteX0" fmla="*/ 298941 w 298941"/>
                <a:gd name="connsiteY0" fmla="*/ 149471 h 298941"/>
                <a:gd name="connsiteX1" fmla="*/ 149471 w 298941"/>
                <a:gd name="connsiteY1" fmla="*/ 298941 h 298941"/>
                <a:gd name="connsiteX2" fmla="*/ 0 w 298941"/>
                <a:gd name="connsiteY2" fmla="*/ 149471 h 298941"/>
                <a:gd name="connsiteX3" fmla="*/ 149471 w 298941"/>
                <a:gd name="connsiteY3" fmla="*/ 0 h 298941"/>
                <a:gd name="connsiteX4" fmla="*/ 298941 w 298941"/>
                <a:gd name="connsiteY4" fmla="*/ 149471 h 29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941" h="298941">
                  <a:moveTo>
                    <a:pt x="298941" y="149471"/>
                  </a:moveTo>
                  <a:cubicBezTo>
                    <a:pt x="298941" y="232021"/>
                    <a:pt x="232021" y="298941"/>
                    <a:pt x="149471" y="298941"/>
                  </a:cubicBezTo>
                  <a:cubicBezTo>
                    <a:pt x="66920" y="298941"/>
                    <a:pt x="0" y="232021"/>
                    <a:pt x="0" y="149471"/>
                  </a:cubicBezTo>
                  <a:cubicBezTo>
                    <a:pt x="0" y="66920"/>
                    <a:pt x="66920" y="0"/>
                    <a:pt x="149471" y="0"/>
                  </a:cubicBezTo>
                  <a:cubicBezTo>
                    <a:pt x="232021" y="0"/>
                    <a:pt x="298941" y="66920"/>
                    <a:pt x="298941" y="149471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045FB0F0-B1F3-4FEE-8417-D15852A09F2C}"/>
                </a:ext>
              </a:extLst>
            </p:cNvPr>
            <p:cNvSpPr/>
            <p:nvPr/>
          </p:nvSpPr>
          <p:spPr>
            <a:xfrm>
              <a:off x="5771911" y="5800354"/>
              <a:ext cx="32807" cy="32807"/>
            </a:xfrm>
            <a:custGeom>
              <a:avLst/>
              <a:gdLst>
                <a:gd name="connsiteX0" fmla="*/ 32808 w 32807"/>
                <a:gd name="connsiteY0" fmla="*/ 16404 h 32807"/>
                <a:gd name="connsiteX1" fmla="*/ 16404 w 32807"/>
                <a:gd name="connsiteY1" fmla="*/ 32808 h 32807"/>
                <a:gd name="connsiteX2" fmla="*/ 0 w 32807"/>
                <a:gd name="connsiteY2" fmla="*/ 16404 h 32807"/>
                <a:gd name="connsiteX3" fmla="*/ 16404 w 32807"/>
                <a:gd name="connsiteY3" fmla="*/ 0 h 32807"/>
                <a:gd name="connsiteX4" fmla="*/ 32808 w 32807"/>
                <a:gd name="connsiteY4" fmla="*/ 16404 h 3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07" h="32807">
                  <a:moveTo>
                    <a:pt x="32808" y="16404"/>
                  </a:moveTo>
                  <a:cubicBezTo>
                    <a:pt x="32808" y="25463"/>
                    <a:pt x="25463" y="32808"/>
                    <a:pt x="16404" y="32808"/>
                  </a:cubicBezTo>
                  <a:cubicBezTo>
                    <a:pt x="7344" y="32808"/>
                    <a:pt x="0" y="25463"/>
                    <a:pt x="0" y="16404"/>
                  </a:cubicBezTo>
                  <a:cubicBezTo>
                    <a:pt x="0" y="7344"/>
                    <a:pt x="7344" y="0"/>
                    <a:pt x="16404" y="0"/>
                  </a:cubicBezTo>
                  <a:cubicBezTo>
                    <a:pt x="25463" y="0"/>
                    <a:pt x="32808" y="7344"/>
                    <a:pt x="32808" y="16404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8A335DFB-04E9-4F7B-BB10-73FCE1035FE7}"/>
                </a:ext>
              </a:extLst>
            </p:cNvPr>
            <p:cNvSpPr/>
            <p:nvPr/>
          </p:nvSpPr>
          <p:spPr>
            <a:xfrm>
              <a:off x="5680099" y="5886413"/>
              <a:ext cx="32807" cy="32807"/>
            </a:xfrm>
            <a:custGeom>
              <a:avLst/>
              <a:gdLst>
                <a:gd name="connsiteX0" fmla="*/ 32808 w 32807"/>
                <a:gd name="connsiteY0" fmla="*/ 16404 h 32807"/>
                <a:gd name="connsiteX1" fmla="*/ 16404 w 32807"/>
                <a:gd name="connsiteY1" fmla="*/ 32808 h 32807"/>
                <a:gd name="connsiteX2" fmla="*/ 0 w 32807"/>
                <a:gd name="connsiteY2" fmla="*/ 16404 h 32807"/>
                <a:gd name="connsiteX3" fmla="*/ 16404 w 32807"/>
                <a:gd name="connsiteY3" fmla="*/ 0 h 32807"/>
                <a:gd name="connsiteX4" fmla="*/ 32808 w 32807"/>
                <a:gd name="connsiteY4" fmla="*/ 16404 h 3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07" h="32807">
                  <a:moveTo>
                    <a:pt x="32808" y="16404"/>
                  </a:moveTo>
                  <a:cubicBezTo>
                    <a:pt x="32808" y="25463"/>
                    <a:pt x="25463" y="32808"/>
                    <a:pt x="16404" y="32808"/>
                  </a:cubicBezTo>
                  <a:cubicBezTo>
                    <a:pt x="7344" y="32808"/>
                    <a:pt x="0" y="25463"/>
                    <a:pt x="0" y="16404"/>
                  </a:cubicBezTo>
                  <a:cubicBezTo>
                    <a:pt x="0" y="7344"/>
                    <a:pt x="7344" y="0"/>
                    <a:pt x="16404" y="0"/>
                  </a:cubicBezTo>
                  <a:cubicBezTo>
                    <a:pt x="25463" y="0"/>
                    <a:pt x="32808" y="7344"/>
                    <a:pt x="32808" y="16404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9BA42462-318D-40EE-A9AC-F952455D8135}"/>
                </a:ext>
              </a:extLst>
            </p:cNvPr>
            <p:cNvSpPr/>
            <p:nvPr/>
          </p:nvSpPr>
          <p:spPr>
            <a:xfrm>
              <a:off x="5550215" y="5818594"/>
              <a:ext cx="32807" cy="32807"/>
            </a:xfrm>
            <a:custGeom>
              <a:avLst/>
              <a:gdLst>
                <a:gd name="connsiteX0" fmla="*/ 32808 w 32807"/>
                <a:gd name="connsiteY0" fmla="*/ 16404 h 32807"/>
                <a:gd name="connsiteX1" fmla="*/ 16404 w 32807"/>
                <a:gd name="connsiteY1" fmla="*/ 32808 h 32807"/>
                <a:gd name="connsiteX2" fmla="*/ 0 w 32807"/>
                <a:gd name="connsiteY2" fmla="*/ 16404 h 32807"/>
                <a:gd name="connsiteX3" fmla="*/ 16404 w 32807"/>
                <a:gd name="connsiteY3" fmla="*/ 0 h 32807"/>
                <a:gd name="connsiteX4" fmla="*/ 32808 w 32807"/>
                <a:gd name="connsiteY4" fmla="*/ 16404 h 3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07" h="32807">
                  <a:moveTo>
                    <a:pt x="32808" y="16404"/>
                  </a:moveTo>
                  <a:cubicBezTo>
                    <a:pt x="32808" y="25463"/>
                    <a:pt x="25463" y="32808"/>
                    <a:pt x="16404" y="32808"/>
                  </a:cubicBezTo>
                  <a:cubicBezTo>
                    <a:pt x="7344" y="32808"/>
                    <a:pt x="0" y="25463"/>
                    <a:pt x="0" y="16404"/>
                  </a:cubicBezTo>
                  <a:cubicBezTo>
                    <a:pt x="0" y="7344"/>
                    <a:pt x="7344" y="0"/>
                    <a:pt x="16404" y="0"/>
                  </a:cubicBezTo>
                  <a:cubicBezTo>
                    <a:pt x="25463" y="0"/>
                    <a:pt x="32808" y="7344"/>
                    <a:pt x="32808" y="16404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210847D6-D5F2-4114-9A1C-62E2494BAC4D}"/>
                </a:ext>
              </a:extLst>
            </p:cNvPr>
            <p:cNvSpPr/>
            <p:nvPr/>
          </p:nvSpPr>
          <p:spPr>
            <a:xfrm>
              <a:off x="5470644" y="5923383"/>
              <a:ext cx="32807" cy="32807"/>
            </a:xfrm>
            <a:custGeom>
              <a:avLst/>
              <a:gdLst>
                <a:gd name="connsiteX0" fmla="*/ 32808 w 32807"/>
                <a:gd name="connsiteY0" fmla="*/ 16404 h 32807"/>
                <a:gd name="connsiteX1" fmla="*/ 16404 w 32807"/>
                <a:gd name="connsiteY1" fmla="*/ 32808 h 32807"/>
                <a:gd name="connsiteX2" fmla="*/ 0 w 32807"/>
                <a:gd name="connsiteY2" fmla="*/ 16404 h 32807"/>
                <a:gd name="connsiteX3" fmla="*/ 16404 w 32807"/>
                <a:gd name="connsiteY3" fmla="*/ 0 h 32807"/>
                <a:gd name="connsiteX4" fmla="*/ 32808 w 32807"/>
                <a:gd name="connsiteY4" fmla="*/ 16404 h 3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07" h="32807">
                  <a:moveTo>
                    <a:pt x="32808" y="16404"/>
                  </a:moveTo>
                  <a:cubicBezTo>
                    <a:pt x="32808" y="25463"/>
                    <a:pt x="25463" y="32808"/>
                    <a:pt x="16404" y="32808"/>
                  </a:cubicBezTo>
                  <a:cubicBezTo>
                    <a:pt x="7344" y="32808"/>
                    <a:pt x="0" y="25463"/>
                    <a:pt x="0" y="16404"/>
                  </a:cubicBezTo>
                  <a:cubicBezTo>
                    <a:pt x="0" y="7344"/>
                    <a:pt x="7344" y="0"/>
                    <a:pt x="16404" y="0"/>
                  </a:cubicBezTo>
                  <a:cubicBezTo>
                    <a:pt x="25463" y="0"/>
                    <a:pt x="32808" y="7344"/>
                    <a:pt x="32808" y="16404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B1CF2ECD-2586-4648-8FE9-5577944946BF}"/>
                </a:ext>
              </a:extLst>
            </p:cNvPr>
            <p:cNvSpPr/>
            <p:nvPr/>
          </p:nvSpPr>
          <p:spPr>
            <a:xfrm>
              <a:off x="5867273" y="5923383"/>
              <a:ext cx="32807" cy="32807"/>
            </a:xfrm>
            <a:custGeom>
              <a:avLst/>
              <a:gdLst>
                <a:gd name="connsiteX0" fmla="*/ 32808 w 32807"/>
                <a:gd name="connsiteY0" fmla="*/ 16404 h 32807"/>
                <a:gd name="connsiteX1" fmla="*/ 16404 w 32807"/>
                <a:gd name="connsiteY1" fmla="*/ 32808 h 32807"/>
                <a:gd name="connsiteX2" fmla="*/ 0 w 32807"/>
                <a:gd name="connsiteY2" fmla="*/ 16404 h 32807"/>
                <a:gd name="connsiteX3" fmla="*/ 16404 w 32807"/>
                <a:gd name="connsiteY3" fmla="*/ 0 h 32807"/>
                <a:gd name="connsiteX4" fmla="*/ 32808 w 32807"/>
                <a:gd name="connsiteY4" fmla="*/ 16404 h 3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07" h="32807">
                  <a:moveTo>
                    <a:pt x="32808" y="16404"/>
                  </a:moveTo>
                  <a:cubicBezTo>
                    <a:pt x="32808" y="25463"/>
                    <a:pt x="25463" y="32808"/>
                    <a:pt x="16404" y="32808"/>
                  </a:cubicBezTo>
                  <a:cubicBezTo>
                    <a:pt x="7344" y="32808"/>
                    <a:pt x="0" y="25463"/>
                    <a:pt x="0" y="16404"/>
                  </a:cubicBezTo>
                  <a:cubicBezTo>
                    <a:pt x="0" y="7344"/>
                    <a:pt x="7344" y="0"/>
                    <a:pt x="16404" y="0"/>
                  </a:cubicBezTo>
                  <a:cubicBezTo>
                    <a:pt x="25463" y="0"/>
                    <a:pt x="32808" y="7344"/>
                    <a:pt x="32808" y="16404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A13A2FBF-0AB4-4BEC-9B44-AA130FA8AC8F}"/>
                </a:ext>
              </a:extLst>
            </p:cNvPr>
            <p:cNvSpPr/>
            <p:nvPr/>
          </p:nvSpPr>
          <p:spPr>
            <a:xfrm>
              <a:off x="5565272" y="6001117"/>
              <a:ext cx="115438" cy="129394"/>
            </a:xfrm>
            <a:custGeom>
              <a:avLst/>
              <a:gdLst>
                <a:gd name="connsiteX0" fmla="*/ 115439 w 115438"/>
                <a:gd name="connsiteY0" fmla="*/ 0 h 129394"/>
                <a:gd name="connsiteX1" fmla="*/ 0 w 115438"/>
                <a:gd name="connsiteY1" fmla="*/ 129394 h 12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38" h="129394">
                  <a:moveTo>
                    <a:pt x="115439" y="0"/>
                  </a:moveTo>
                  <a:lnTo>
                    <a:pt x="0" y="129394"/>
                  </a:lnTo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D56080FA-95F0-4B74-AD3F-D4475C466CDD}"/>
                </a:ext>
              </a:extLst>
            </p:cNvPr>
            <p:cNvSpPr/>
            <p:nvPr/>
          </p:nvSpPr>
          <p:spPr>
            <a:xfrm>
              <a:off x="5498432" y="5851402"/>
              <a:ext cx="59616" cy="76632"/>
            </a:xfrm>
            <a:custGeom>
              <a:avLst/>
              <a:gdLst>
                <a:gd name="connsiteX0" fmla="*/ 0 w 59616"/>
                <a:gd name="connsiteY0" fmla="*/ 76633 h 76632"/>
                <a:gd name="connsiteX1" fmla="*/ 59617 w 59616"/>
                <a:gd name="connsiteY1" fmla="*/ 0 h 76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616" h="76632">
                  <a:moveTo>
                    <a:pt x="0" y="76633"/>
                  </a:moveTo>
                  <a:lnTo>
                    <a:pt x="59617" y="0"/>
                  </a:lnTo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DE650BA6-7420-4095-8BAE-0D3FE645DBA0}"/>
                </a:ext>
              </a:extLst>
            </p:cNvPr>
            <p:cNvSpPr/>
            <p:nvPr/>
          </p:nvSpPr>
          <p:spPr>
            <a:xfrm>
              <a:off x="5583022" y="5845281"/>
              <a:ext cx="97076" cy="53863"/>
            </a:xfrm>
            <a:custGeom>
              <a:avLst/>
              <a:gdLst>
                <a:gd name="connsiteX0" fmla="*/ 0 w 97076"/>
                <a:gd name="connsiteY0" fmla="*/ 0 h 53863"/>
                <a:gd name="connsiteX1" fmla="*/ 97076 w 97076"/>
                <a:gd name="connsiteY1" fmla="*/ 53863 h 53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076" h="53863">
                  <a:moveTo>
                    <a:pt x="0" y="0"/>
                  </a:moveTo>
                  <a:lnTo>
                    <a:pt x="97076" y="53863"/>
                  </a:lnTo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A76F9752-E206-42EC-99A7-1567E621D56B}"/>
                </a:ext>
              </a:extLst>
            </p:cNvPr>
            <p:cNvSpPr/>
            <p:nvPr/>
          </p:nvSpPr>
          <p:spPr>
            <a:xfrm>
              <a:off x="5709111" y="5825204"/>
              <a:ext cx="62799" cy="67206"/>
            </a:xfrm>
            <a:custGeom>
              <a:avLst/>
              <a:gdLst>
                <a:gd name="connsiteX0" fmla="*/ 62800 w 62799"/>
                <a:gd name="connsiteY0" fmla="*/ 0 h 67206"/>
                <a:gd name="connsiteX1" fmla="*/ 0 w 62799"/>
                <a:gd name="connsiteY1" fmla="*/ 67207 h 67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799" h="67206">
                  <a:moveTo>
                    <a:pt x="62800" y="0"/>
                  </a:moveTo>
                  <a:lnTo>
                    <a:pt x="0" y="67207"/>
                  </a:lnTo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8FCB64BA-FF9B-4D2F-989F-B62C001086D9}"/>
                </a:ext>
              </a:extLst>
            </p:cNvPr>
            <p:cNvSpPr/>
            <p:nvPr/>
          </p:nvSpPr>
          <p:spPr>
            <a:xfrm>
              <a:off x="5798965" y="5829122"/>
              <a:ext cx="75163" cy="94383"/>
            </a:xfrm>
            <a:custGeom>
              <a:avLst/>
              <a:gdLst>
                <a:gd name="connsiteX0" fmla="*/ 75164 w 75163"/>
                <a:gd name="connsiteY0" fmla="*/ 94383 h 94383"/>
                <a:gd name="connsiteX1" fmla="*/ 0 w 75163"/>
                <a:gd name="connsiteY1" fmla="*/ 0 h 94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5163" h="94383">
                  <a:moveTo>
                    <a:pt x="75164" y="94383"/>
                  </a:moveTo>
                  <a:lnTo>
                    <a:pt x="0" y="0"/>
                  </a:lnTo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xmlns="" id="{B3240181-F01F-425D-86CD-68D7DC52B070}"/>
              </a:ext>
            </a:extLst>
          </p:cNvPr>
          <p:cNvGrpSpPr/>
          <p:nvPr/>
        </p:nvGrpSpPr>
        <p:grpSpPr>
          <a:xfrm>
            <a:off x="1782809" y="1954500"/>
            <a:ext cx="584484" cy="610574"/>
            <a:chOff x="-811355" y="1109679"/>
            <a:chExt cx="413686" cy="432152"/>
          </a:xfrm>
        </p:grpSpPr>
        <p:sp>
          <p:nvSpPr>
            <p:cNvPr id="84" name="arrow_11" title="Icon of a circle made of two curved arrows">
              <a:extLst>
                <a:ext uri="{FF2B5EF4-FFF2-40B4-BE49-F238E27FC236}">
                  <a16:creationId xmlns:a16="http://schemas.microsoft.com/office/drawing/2014/main" xmlns="" id="{21465760-DD5C-4358-AF4C-5C5EF677841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811355" y="1109679"/>
              <a:ext cx="413686" cy="432152"/>
            </a:xfrm>
            <a:custGeom>
              <a:avLst/>
              <a:gdLst>
                <a:gd name="T0" fmla="*/ 310 w 310"/>
                <a:gd name="T1" fmla="*/ 199 h 322"/>
                <a:gd name="T2" fmla="*/ 154 w 310"/>
                <a:gd name="T3" fmla="*/ 322 h 322"/>
                <a:gd name="T4" fmla="*/ 1 w 310"/>
                <a:gd name="T5" fmla="*/ 211 h 322"/>
                <a:gd name="T6" fmla="*/ 304 w 310"/>
                <a:gd name="T7" fmla="*/ 104 h 322"/>
                <a:gd name="T8" fmla="*/ 154 w 310"/>
                <a:gd name="T9" fmla="*/ 0 h 322"/>
                <a:gd name="T10" fmla="*/ 0 w 310"/>
                <a:gd name="T11" fmla="*/ 114 h 322"/>
                <a:gd name="T12" fmla="*/ 299 w 310"/>
                <a:gd name="T13" fmla="*/ 104 h 322"/>
                <a:gd name="T14" fmla="*/ 230 w 310"/>
                <a:gd name="T15" fmla="*/ 104 h 322"/>
                <a:gd name="T16" fmla="*/ 295 w 310"/>
                <a:gd name="T17" fmla="*/ 104 h 322"/>
                <a:gd name="T18" fmla="*/ 304 w 310"/>
                <a:gd name="T19" fmla="*/ 104 h 322"/>
                <a:gd name="T20" fmla="*/ 304 w 310"/>
                <a:gd name="T21" fmla="*/ 29 h 322"/>
                <a:gd name="T22" fmla="*/ 9 w 310"/>
                <a:gd name="T23" fmla="*/ 211 h 322"/>
                <a:gd name="T24" fmla="*/ 75 w 310"/>
                <a:gd name="T25" fmla="*/ 211 h 322"/>
                <a:gd name="T26" fmla="*/ 9 w 310"/>
                <a:gd name="T27" fmla="*/ 211 h 322"/>
                <a:gd name="T28" fmla="*/ 1 w 310"/>
                <a:gd name="T29" fmla="*/ 211 h 322"/>
                <a:gd name="T30" fmla="*/ 1 w 310"/>
                <a:gd name="T31" fmla="*/ 286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0" h="322">
                  <a:moveTo>
                    <a:pt x="310" y="199"/>
                  </a:moveTo>
                  <a:cubicBezTo>
                    <a:pt x="293" y="270"/>
                    <a:pt x="229" y="322"/>
                    <a:pt x="154" y="322"/>
                  </a:cubicBezTo>
                  <a:cubicBezTo>
                    <a:pt x="83" y="322"/>
                    <a:pt x="22" y="275"/>
                    <a:pt x="1" y="211"/>
                  </a:cubicBezTo>
                  <a:moveTo>
                    <a:pt x="304" y="104"/>
                  </a:moveTo>
                  <a:cubicBezTo>
                    <a:pt x="281" y="43"/>
                    <a:pt x="223" y="0"/>
                    <a:pt x="154" y="0"/>
                  </a:cubicBezTo>
                  <a:cubicBezTo>
                    <a:pt x="82" y="0"/>
                    <a:pt x="20" y="48"/>
                    <a:pt x="0" y="114"/>
                  </a:cubicBezTo>
                  <a:moveTo>
                    <a:pt x="299" y="104"/>
                  </a:moveTo>
                  <a:cubicBezTo>
                    <a:pt x="230" y="104"/>
                    <a:pt x="230" y="104"/>
                    <a:pt x="230" y="104"/>
                  </a:cubicBezTo>
                  <a:moveTo>
                    <a:pt x="295" y="104"/>
                  </a:moveTo>
                  <a:cubicBezTo>
                    <a:pt x="304" y="104"/>
                    <a:pt x="304" y="104"/>
                    <a:pt x="304" y="104"/>
                  </a:cubicBezTo>
                  <a:cubicBezTo>
                    <a:pt x="304" y="29"/>
                    <a:pt x="304" y="29"/>
                    <a:pt x="304" y="29"/>
                  </a:cubicBezTo>
                  <a:moveTo>
                    <a:pt x="9" y="211"/>
                  </a:moveTo>
                  <a:cubicBezTo>
                    <a:pt x="75" y="211"/>
                    <a:pt x="75" y="211"/>
                    <a:pt x="75" y="211"/>
                  </a:cubicBezTo>
                  <a:moveTo>
                    <a:pt x="9" y="211"/>
                  </a:moveTo>
                  <a:cubicBezTo>
                    <a:pt x="1" y="211"/>
                    <a:pt x="1" y="211"/>
                    <a:pt x="1" y="211"/>
                  </a:cubicBezTo>
                  <a:cubicBezTo>
                    <a:pt x="1" y="286"/>
                    <a:pt x="1" y="286"/>
                    <a:pt x="1" y="286"/>
                  </a:cubicBezTo>
                </a:path>
              </a:pathLst>
            </a:custGeom>
            <a:noFill/>
            <a:ln w="15875" cap="sq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1" anchor="t" anchorCtr="0" compatLnSpc="1">
              <a:prstTxWarp prst="textNoShape">
                <a:avLst/>
              </a:prstTxWarp>
            </a:bodyPr>
            <a:lstStyle/>
            <a:p>
              <a:pPr algn="r" rtl="1"/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xmlns="" id="{D174D719-2645-4CCE-9246-A03C79CEC528}"/>
                </a:ext>
              </a:extLst>
            </p:cNvPr>
            <p:cNvGrpSpPr/>
            <p:nvPr/>
          </p:nvGrpSpPr>
          <p:grpSpPr>
            <a:xfrm>
              <a:off x="-695205" y="1229394"/>
              <a:ext cx="181387" cy="192723"/>
              <a:chOff x="-721409" y="1229504"/>
              <a:chExt cx="181387" cy="192723"/>
            </a:xfrm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xmlns="" id="{D25FCADC-90BD-45A9-AF07-21C1BC12333B}"/>
                  </a:ext>
                </a:extLst>
              </p:cNvPr>
              <p:cNvSpPr/>
              <p:nvPr/>
            </p:nvSpPr>
            <p:spPr>
              <a:xfrm>
                <a:off x="-678329" y="1277118"/>
                <a:ext cx="102030" cy="102030"/>
              </a:xfrm>
              <a:custGeom>
                <a:avLst/>
                <a:gdLst>
                  <a:gd name="connsiteX0" fmla="*/ 79738 w 85725"/>
                  <a:gd name="connsiteY0" fmla="*/ 43543 h 85725"/>
                  <a:gd name="connsiteX1" fmla="*/ 43543 w 85725"/>
                  <a:gd name="connsiteY1" fmla="*/ 79738 h 85725"/>
                  <a:gd name="connsiteX2" fmla="*/ 7348 w 85725"/>
                  <a:gd name="connsiteY2" fmla="*/ 43543 h 85725"/>
                  <a:gd name="connsiteX3" fmla="*/ 43543 w 85725"/>
                  <a:gd name="connsiteY3" fmla="*/ 7348 h 85725"/>
                  <a:gd name="connsiteX4" fmla="*/ 79738 w 85725"/>
                  <a:gd name="connsiteY4" fmla="*/ 43543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25" h="85725">
                    <a:moveTo>
                      <a:pt x="79738" y="43543"/>
                    </a:moveTo>
                    <a:cubicBezTo>
                      <a:pt x="79738" y="63533"/>
                      <a:pt x="63533" y="79738"/>
                      <a:pt x="43543" y="79738"/>
                    </a:cubicBezTo>
                    <a:cubicBezTo>
                      <a:pt x="23553" y="79738"/>
                      <a:pt x="7348" y="63533"/>
                      <a:pt x="7348" y="43543"/>
                    </a:cubicBezTo>
                    <a:cubicBezTo>
                      <a:pt x="7348" y="23553"/>
                      <a:pt x="23553" y="7348"/>
                      <a:pt x="43543" y="7348"/>
                    </a:cubicBezTo>
                    <a:cubicBezTo>
                      <a:pt x="63533" y="7348"/>
                      <a:pt x="79738" y="23553"/>
                      <a:pt x="79738" y="43543"/>
                    </a:cubicBezTo>
                    <a:close/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rtlCol="1" anchor="t" anchorCtr="0" compatLnSpc="1">
                <a:prstTxWarp prst="textNoShape">
                  <a:avLst/>
                </a:prstTxWarp>
              </a:bodyPr>
              <a:lstStyle/>
              <a:p>
                <a:pPr algn="r" rtl="1"/>
                <a:endParaRPr lang="en-US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xmlns="" id="{590CB0BE-FEF2-4954-9702-A15FC35134F1}"/>
                  </a:ext>
                </a:extLst>
              </p:cNvPr>
              <p:cNvSpPr/>
              <p:nvPr/>
            </p:nvSpPr>
            <p:spPr>
              <a:xfrm>
                <a:off x="-721409" y="1229504"/>
                <a:ext cx="181387" cy="192723"/>
              </a:xfrm>
              <a:custGeom>
                <a:avLst/>
                <a:gdLst>
                  <a:gd name="connsiteX0" fmla="*/ 142603 w 152400"/>
                  <a:gd name="connsiteY0" fmla="*/ 83548 h 161925"/>
                  <a:gd name="connsiteX1" fmla="*/ 139745 w 152400"/>
                  <a:gd name="connsiteY1" fmla="*/ 64498 h 161925"/>
                  <a:gd name="connsiteX2" fmla="*/ 152128 w 152400"/>
                  <a:gd name="connsiteY2" fmla="*/ 56878 h 161925"/>
                  <a:gd name="connsiteX3" fmla="*/ 138793 w 152400"/>
                  <a:gd name="connsiteY3" fmla="*/ 34018 h 161925"/>
                  <a:gd name="connsiteX4" fmla="*/ 126411 w 152400"/>
                  <a:gd name="connsiteY4" fmla="*/ 41638 h 161925"/>
                  <a:gd name="connsiteX5" fmla="*/ 93073 w 152400"/>
                  <a:gd name="connsiteY5" fmla="*/ 21636 h 161925"/>
                  <a:gd name="connsiteX6" fmla="*/ 93073 w 152400"/>
                  <a:gd name="connsiteY6" fmla="*/ 7348 h 161925"/>
                  <a:gd name="connsiteX7" fmla="*/ 66403 w 152400"/>
                  <a:gd name="connsiteY7" fmla="*/ 7348 h 161925"/>
                  <a:gd name="connsiteX8" fmla="*/ 66403 w 152400"/>
                  <a:gd name="connsiteY8" fmla="*/ 21636 h 161925"/>
                  <a:gd name="connsiteX9" fmla="*/ 33066 w 152400"/>
                  <a:gd name="connsiteY9" fmla="*/ 41638 h 161925"/>
                  <a:gd name="connsiteX10" fmla="*/ 20683 w 152400"/>
                  <a:gd name="connsiteY10" fmla="*/ 34018 h 161925"/>
                  <a:gd name="connsiteX11" fmla="*/ 7348 w 152400"/>
                  <a:gd name="connsiteY11" fmla="*/ 56878 h 161925"/>
                  <a:gd name="connsiteX12" fmla="*/ 19730 w 152400"/>
                  <a:gd name="connsiteY12" fmla="*/ 64498 h 161925"/>
                  <a:gd name="connsiteX13" fmla="*/ 16873 w 152400"/>
                  <a:gd name="connsiteY13" fmla="*/ 83548 h 161925"/>
                  <a:gd name="connsiteX14" fmla="*/ 19730 w 152400"/>
                  <a:gd name="connsiteY14" fmla="*/ 102598 h 161925"/>
                  <a:gd name="connsiteX15" fmla="*/ 7348 w 152400"/>
                  <a:gd name="connsiteY15" fmla="*/ 110218 h 161925"/>
                  <a:gd name="connsiteX16" fmla="*/ 20683 w 152400"/>
                  <a:gd name="connsiteY16" fmla="*/ 133078 h 161925"/>
                  <a:gd name="connsiteX17" fmla="*/ 33066 w 152400"/>
                  <a:gd name="connsiteY17" fmla="*/ 125458 h 161925"/>
                  <a:gd name="connsiteX18" fmla="*/ 66403 w 152400"/>
                  <a:gd name="connsiteY18" fmla="*/ 145461 h 161925"/>
                  <a:gd name="connsiteX19" fmla="*/ 66403 w 152400"/>
                  <a:gd name="connsiteY19" fmla="*/ 159748 h 161925"/>
                  <a:gd name="connsiteX20" fmla="*/ 93073 w 152400"/>
                  <a:gd name="connsiteY20" fmla="*/ 159748 h 161925"/>
                  <a:gd name="connsiteX21" fmla="*/ 93073 w 152400"/>
                  <a:gd name="connsiteY21" fmla="*/ 145461 h 161925"/>
                  <a:gd name="connsiteX22" fmla="*/ 126411 w 152400"/>
                  <a:gd name="connsiteY22" fmla="*/ 125458 h 161925"/>
                  <a:gd name="connsiteX23" fmla="*/ 138793 w 152400"/>
                  <a:gd name="connsiteY23" fmla="*/ 133078 h 161925"/>
                  <a:gd name="connsiteX24" fmla="*/ 152128 w 152400"/>
                  <a:gd name="connsiteY24" fmla="*/ 110218 h 161925"/>
                  <a:gd name="connsiteX25" fmla="*/ 139745 w 152400"/>
                  <a:gd name="connsiteY25" fmla="*/ 102598 h 161925"/>
                  <a:gd name="connsiteX26" fmla="*/ 142603 w 152400"/>
                  <a:gd name="connsiteY26" fmla="*/ 83548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2400" h="161925">
                    <a:moveTo>
                      <a:pt x="142603" y="83548"/>
                    </a:moveTo>
                    <a:cubicBezTo>
                      <a:pt x="142603" y="76881"/>
                      <a:pt x="141650" y="70213"/>
                      <a:pt x="139745" y="64498"/>
                    </a:cubicBezTo>
                    <a:lnTo>
                      <a:pt x="152128" y="56878"/>
                    </a:lnTo>
                    <a:lnTo>
                      <a:pt x="138793" y="34018"/>
                    </a:lnTo>
                    <a:lnTo>
                      <a:pt x="126411" y="41638"/>
                    </a:lnTo>
                    <a:cubicBezTo>
                      <a:pt x="117838" y="32113"/>
                      <a:pt x="106408" y="24493"/>
                      <a:pt x="93073" y="21636"/>
                    </a:cubicBezTo>
                    <a:lnTo>
                      <a:pt x="93073" y="7348"/>
                    </a:lnTo>
                    <a:lnTo>
                      <a:pt x="66403" y="7348"/>
                    </a:lnTo>
                    <a:lnTo>
                      <a:pt x="66403" y="21636"/>
                    </a:lnTo>
                    <a:cubicBezTo>
                      <a:pt x="53068" y="24493"/>
                      <a:pt x="41638" y="31161"/>
                      <a:pt x="33066" y="41638"/>
                    </a:cubicBezTo>
                    <a:lnTo>
                      <a:pt x="20683" y="34018"/>
                    </a:lnTo>
                    <a:lnTo>
                      <a:pt x="7348" y="56878"/>
                    </a:lnTo>
                    <a:lnTo>
                      <a:pt x="19730" y="64498"/>
                    </a:lnTo>
                    <a:cubicBezTo>
                      <a:pt x="17825" y="70213"/>
                      <a:pt x="16873" y="76881"/>
                      <a:pt x="16873" y="83548"/>
                    </a:cubicBezTo>
                    <a:cubicBezTo>
                      <a:pt x="16873" y="90216"/>
                      <a:pt x="17825" y="96883"/>
                      <a:pt x="19730" y="102598"/>
                    </a:cubicBezTo>
                    <a:lnTo>
                      <a:pt x="7348" y="110218"/>
                    </a:lnTo>
                    <a:lnTo>
                      <a:pt x="20683" y="133078"/>
                    </a:lnTo>
                    <a:lnTo>
                      <a:pt x="33066" y="125458"/>
                    </a:lnTo>
                    <a:cubicBezTo>
                      <a:pt x="41638" y="134983"/>
                      <a:pt x="53068" y="142603"/>
                      <a:pt x="66403" y="145461"/>
                    </a:cubicBezTo>
                    <a:lnTo>
                      <a:pt x="66403" y="159748"/>
                    </a:lnTo>
                    <a:lnTo>
                      <a:pt x="93073" y="159748"/>
                    </a:lnTo>
                    <a:lnTo>
                      <a:pt x="93073" y="145461"/>
                    </a:lnTo>
                    <a:cubicBezTo>
                      <a:pt x="106408" y="142603"/>
                      <a:pt x="117838" y="135936"/>
                      <a:pt x="126411" y="125458"/>
                    </a:cubicBezTo>
                    <a:lnTo>
                      <a:pt x="138793" y="133078"/>
                    </a:lnTo>
                    <a:lnTo>
                      <a:pt x="152128" y="110218"/>
                    </a:lnTo>
                    <a:lnTo>
                      <a:pt x="139745" y="102598"/>
                    </a:lnTo>
                    <a:cubicBezTo>
                      <a:pt x="141650" y="96883"/>
                      <a:pt x="142603" y="90216"/>
                      <a:pt x="142603" y="83548"/>
                    </a:cubicBezTo>
                    <a:close/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rtlCol="1" anchor="t" anchorCtr="0" compatLnSpc="1">
                <a:prstTxWarp prst="textNoShape">
                  <a:avLst/>
                </a:prstTxWarp>
              </a:bodyPr>
              <a:lstStyle/>
              <a:p>
                <a:pPr algn="r" rtl="1"/>
                <a:endParaRPr lang="en-US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88" name="Graphic 5">
            <a:extLst>
              <a:ext uri="{FF2B5EF4-FFF2-40B4-BE49-F238E27FC236}">
                <a16:creationId xmlns:a16="http://schemas.microsoft.com/office/drawing/2014/main" xmlns="" id="{EC41E65A-4F3D-4A10-8EE0-204238A4C34F}"/>
              </a:ext>
            </a:extLst>
          </p:cNvPr>
          <p:cNvGrpSpPr/>
          <p:nvPr/>
        </p:nvGrpSpPr>
        <p:grpSpPr>
          <a:xfrm>
            <a:off x="5412922" y="1964368"/>
            <a:ext cx="684856" cy="684854"/>
            <a:chOff x="-328613" y="3291582"/>
            <a:chExt cx="657225" cy="657225"/>
          </a:xfrm>
        </p:grpSpPr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B9F37001-0FAC-4BE7-8E37-FB00A0A601B1}"/>
                </a:ext>
              </a:extLst>
            </p:cNvPr>
            <p:cNvSpPr/>
            <p:nvPr/>
          </p:nvSpPr>
          <p:spPr>
            <a:xfrm>
              <a:off x="-323755" y="3296439"/>
              <a:ext cx="642746" cy="645794"/>
            </a:xfrm>
            <a:custGeom>
              <a:avLst/>
              <a:gdLst>
                <a:gd name="connsiteX0" fmla="*/ 623221 w 642746"/>
                <a:gd name="connsiteY0" fmla="*/ 269653 h 645794"/>
                <a:gd name="connsiteX1" fmla="*/ 564642 w 642746"/>
                <a:gd name="connsiteY1" fmla="*/ 259271 h 645794"/>
                <a:gd name="connsiteX2" fmla="*/ 538258 w 642746"/>
                <a:gd name="connsiteY2" fmla="*/ 194501 h 645794"/>
                <a:gd name="connsiteX3" fmla="*/ 573881 w 642746"/>
                <a:gd name="connsiteY3" fmla="*/ 144780 h 645794"/>
                <a:gd name="connsiteX4" fmla="*/ 571595 w 642746"/>
                <a:gd name="connsiteY4" fmla="*/ 114681 h 645794"/>
                <a:gd name="connsiteX5" fmla="*/ 548640 w 642746"/>
                <a:gd name="connsiteY5" fmla="*/ 93821 h 645794"/>
                <a:gd name="connsiteX6" fmla="*/ 527971 w 642746"/>
                <a:gd name="connsiteY6" fmla="*/ 72962 h 645794"/>
                <a:gd name="connsiteX7" fmla="*/ 498158 w 642746"/>
                <a:gd name="connsiteY7" fmla="*/ 70676 h 645794"/>
                <a:gd name="connsiteX8" fmla="*/ 448818 w 642746"/>
                <a:gd name="connsiteY8" fmla="*/ 106585 h 645794"/>
                <a:gd name="connsiteX9" fmla="*/ 384524 w 642746"/>
                <a:gd name="connsiteY9" fmla="*/ 80010 h 645794"/>
                <a:gd name="connsiteX10" fmla="*/ 374237 w 642746"/>
                <a:gd name="connsiteY10" fmla="*/ 19717 h 645794"/>
                <a:gd name="connsiteX11" fmla="*/ 351282 w 642746"/>
                <a:gd name="connsiteY11" fmla="*/ 0 h 645794"/>
                <a:gd name="connsiteX12" fmla="*/ 321469 w 642746"/>
                <a:gd name="connsiteY12" fmla="*/ 0 h 645794"/>
                <a:gd name="connsiteX13" fmla="*/ 291656 w 642746"/>
                <a:gd name="connsiteY13" fmla="*/ 0 h 645794"/>
                <a:gd name="connsiteX14" fmla="*/ 268700 w 642746"/>
                <a:gd name="connsiteY14" fmla="*/ 19717 h 645794"/>
                <a:gd name="connsiteX15" fmla="*/ 258318 w 642746"/>
                <a:gd name="connsiteY15" fmla="*/ 79915 h 645794"/>
                <a:gd name="connsiteX16" fmla="*/ 192881 w 642746"/>
                <a:gd name="connsiteY16" fmla="*/ 107728 h 645794"/>
                <a:gd name="connsiteX17" fmla="*/ 143542 w 642746"/>
                <a:gd name="connsiteY17" fmla="*/ 72962 h 645794"/>
                <a:gd name="connsiteX18" fmla="*/ 113729 w 642746"/>
                <a:gd name="connsiteY18" fmla="*/ 75248 h 645794"/>
                <a:gd name="connsiteX19" fmla="*/ 94202 w 642746"/>
                <a:gd name="connsiteY19" fmla="*/ 96107 h 645794"/>
                <a:gd name="connsiteX20" fmla="*/ 73533 w 642746"/>
                <a:gd name="connsiteY20" fmla="*/ 116967 h 645794"/>
                <a:gd name="connsiteX21" fmla="*/ 71247 w 642746"/>
                <a:gd name="connsiteY21" fmla="*/ 147066 h 645794"/>
                <a:gd name="connsiteX22" fmla="*/ 105632 w 642746"/>
                <a:gd name="connsiteY22" fmla="*/ 198025 h 645794"/>
                <a:gd name="connsiteX23" fmla="*/ 79248 w 642746"/>
                <a:gd name="connsiteY23" fmla="*/ 262795 h 645794"/>
                <a:gd name="connsiteX24" fmla="*/ 19526 w 642746"/>
                <a:gd name="connsiteY24" fmla="*/ 272034 h 645794"/>
                <a:gd name="connsiteX25" fmla="*/ 0 w 642746"/>
                <a:gd name="connsiteY25" fmla="*/ 295180 h 645794"/>
                <a:gd name="connsiteX26" fmla="*/ 0 w 642746"/>
                <a:gd name="connsiteY26" fmla="*/ 325279 h 645794"/>
                <a:gd name="connsiteX27" fmla="*/ 0 w 642746"/>
                <a:gd name="connsiteY27" fmla="*/ 355378 h 645794"/>
                <a:gd name="connsiteX28" fmla="*/ 19526 w 642746"/>
                <a:gd name="connsiteY28" fmla="*/ 378524 h 645794"/>
                <a:gd name="connsiteX29" fmla="*/ 79248 w 642746"/>
                <a:gd name="connsiteY29" fmla="*/ 388906 h 645794"/>
                <a:gd name="connsiteX30" fmla="*/ 106775 w 642746"/>
                <a:gd name="connsiteY30" fmla="*/ 453676 h 645794"/>
                <a:gd name="connsiteX31" fmla="*/ 72390 w 642746"/>
                <a:gd name="connsiteY31" fmla="*/ 503396 h 645794"/>
                <a:gd name="connsiteX32" fmla="*/ 75819 w 642746"/>
                <a:gd name="connsiteY32" fmla="*/ 531209 h 645794"/>
                <a:gd name="connsiteX33" fmla="*/ 96488 w 642746"/>
                <a:gd name="connsiteY33" fmla="*/ 552069 h 645794"/>
                <a:gd name="connsiteX34" fmla="*/ 117158 w 642746"/>
                <a:gd name="connsiteY34" fmla="*/ 572929 h 645794"/>
                <a:gd name="connsiteX35" fmla="*/ 146971 w 642746"/>
                <a:gd name="connsiteY35" fmla="*/ 575215 h 645794"/>
                <a:gd name="connsiteX36" fmla="*/ 196310 w 642746"/>
                <a:gd name="connsiteY36" fmla="*/ 539306 h 645794"/>
                <a:gd name="connsiteX37" fmla="*/ 260604 w 642746"/>
                <a:gd name="connsiteY37" fmla="*/ 565880 h 645794"/>
                <a:gd name="connsiteX38" fmla="*/ 270891 w 642746"/>
                <a:gd name="connsiteY38" fmla="*/ 626078 h 645794"/>
                <a:gd name="connsiteX39" fmla="*/ 293846 w 642746"/>
                <a:gd name="connsiteY39" fmla="*/ 645795 h 645794"/>
                <a:gd name="connsiteX40" fmla="*/ 323660 w 642746"/>
                <a:gd name="connsiteY40" fmla="*/ 645795 h 645794"/>
                <a:gd name="connsiteX41" fmla="*/ 353473 w 642746"/>
                <a:gd name="connsiteY41" fmla="*/ 645795 h 645794"/>
                <a:gd name="connsiteX42" fmla="*/ 376428 w 642746"/>
                <a:gd name="connsiteY42" fmla="*/ 626078 h 645794"/>
                <a:gd name="connsiteX43" fmla="*/ 386715 w 642746"/>
                <a:gd name="connsiteY43" fmla="*/ 565880 h 645794"/>
                <a:gd name="connsiteX44" fmla="*/ 449866 w 642746"/>
                <a:gd name="connsiteY44" fmla="*/ 539306 h 645794"/>
                <a:gd name="connsiteX45" fmla="*/ 499205 w 642746"/>
                <a:gd name="connsiteY45" fmla="*/ 575215 h 645794"/>
                <a:gd name="connsiteX46" fmla="*/ 529019 w 642746"/>
                <a:gd name="connsiteY46" fmla="*/ 572929 h 645794"/>
                <a:gd name="connsiteX47" fmla="*/ 549688 w 642746"/>
                <a:gd name="connsiteY47" fmla="*/ 552069 h 645794"/>
                <a:gd name="connsiteX48" fmla="*/ 570357 w 642746"/>
                <a:gd name="connsiteY48" fmla="*/ 531209 h 645794"/>
                <a:gd name="connsiteX49" fmla="*/ 572643 w 642746"/>
                <a:gd name="connsiteY49" fmla="*/ 501110 h 645794"/>
                <a:gd name="connsiteX50" fmla="*/ 537020 w 642746"/>
                <a:gd name="connsiteY50" fmla="*/ 451390 h 645794"/>
                <a:gd name="connsiteX51" fmla="*/ 563404 w 642746"/>
                <a:gd name="connsiteY51" fmla="*/ 386620 h 645794"/>
                <a:gd name="connsiteX52" fmla="*/ 623221 w 642746"/>
                <a:gd name="connsiteY52" fmla="*/ 376142 h 645794"/>
                <a:gd name="connsiteX53" fmla="*/ 642747 w 642746"/>
                <a:gd name="connsiteY53" fmla="*/ 352997 h 645794"/>
                <a:gd name="connsiteX54" fmla="*/ 642747 w 642746"/>
                <a:gd name="connsiteY54" fmla="*/ 322898 h 645794"/>
                <a:gd name="connsiteX55" fmla="*/ 642747 w 642746"/>
                <a:gd name="connsiteY55" fmla="*/ 292799 h 645794"/>
                <a:gd name="connsiteX56" fmla="*/ 623221 w 642746"/>
                <a:gd name="connsiteY56" fmla="*/ 269653 h 64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42746" h="645794">
                  <a:moveTo>
                    <a:pt x="623221" y="269653"/>
                  </a:moveTo>
                  <a:lnTo>
                    <a:pt x="564642" y="259271"/>
                  </a:lnTo>
                  <a:cubicBezTo>
                    <a:pt x="558927" y="236125"/>
                    <a:pt x="549688" y="215265"/>
                    <a:pt x="538258" y="194501"/>
                  </a:cubicBezTo>
                  <a:lnTo>
                    <a:pt x="573881" y="144780"/>
                  </a:lnTo>
                  <a:cubicBezTo>
                    <a:pt x="580739" y="135541"/>
                    <a:pt x="579596" y="122777"/>
                    <a:pt x="571595" y="114681"/>
                  </a:cubicBezTo>
                  <a:lnTo>
                    <a:pt x="548640" y="93821"/>
                  </a:lnTo>
                  <a:lnTo>
                    <a:pt x="527971" y="72962"/>
                  </a:lnTo>
                  <a:cubicBezTo>
                    <a:pt x="519970" y="66008"/>
                    <a:pt x="507302" y="64865"/>
                    <a:pt x="498158" y="70676"/>
                  </a:cubicBezTo>
                  <a:lnTo>
                    <a:pt x="448818" y="106585"/>
                  </a:lnTo>
                  <a:cubicBezTo>
                    <a:pt x="428149" y="95060"/>
                    <a:pt x="406336" y="85725"/>
                    <a:pt x="384524" y="80010"/>
                  </a:cubicBezTo>
                  <a:lnTo>
                    <a:pt x="374237" y="19717"/>
                  </a:lnTo>
                  <a:cubicBezTo>
                    <a:pt x="371951" y="8096"/>
                    <a:pt x="362807" y="0"/>
                    <a:pt x="351282" y="0"/>
                  </a:cubicBezTo>
                  <a:lnTo>
                    <a:pt x="321469" y="0"/>
                  </a:lnTo>
                  <a:lnTo>
                    <a:pt x="291656" y="0"/>
                  </a:lnTo>
                  <a:cubicBezTo>
                    <a:pt x="280226" y="0"/>
                    <a:pt x="270986" y="8096"/>
                    <a:pt x="268700" y="19717"/>
                  </a:cubicBezTo>
                  <a:lnTo>
                    <a:pt x="258318" y="79915"/>
                  </a:lnTo>
                  <a:cubicBezTo>
                    <a:pt x="235363" y="85725"/>
                    <a:pt x="213551" y="94964"/>
                    <a:pt x="192881" y="107728"/>
                  </a:cubicBezTo>
                  <a:lnTo>
                    <a:pt x="143542" y="72962"/>
                  </a:lnTo>
                  <a:cubicBezTo>
                    <a:pt x="134398" y="66008"/>
                    <a:pt x="121730" y="67151"/>
                    <a:pt x="113729" y="75248"/>
                  </a:cubicBezTo>
                  <a:lnTo>
                    <a:pt x="94202" y="96107"/>
                  </a:lnTo>
                  <a:lnTo>
                    <a:pt x="73533" y="116967"/>
                  </a:lnTo>
                  <a:cubicBezTo>
                    <a:pt x="65532" y="125063"/>
                    <a:pt x="64389" y="137827"/>
                    <a:pt x="71247" y="147066"/>
                  </a:cubicBezTo>
                  <a:lnTo>
                    <a:pt x="105632" y="198025"/>
                  </a:lnTo>
                  <a:cubicBezTo>
                    <a:pt x="94107" y="218885"/>
                    <a:pt x="84963" y="240887"/>
                    <a:pt x="79248" y="262795"/>
                  </a:cubicBezTo>
                  <a:lnTo>
                    <a:pt x="19526" y="272034"/>
                  </a:lnTo>
                  <a:cubicBezTo>
                    <a:pt x="8096" y="274320"/>
                    <a:pt x="0" y="283559"/>
                    <a:pt x="0" y="295180"/>
                  </a:cubicBezTo>
                  <a:lnTo>
                    <a:pt x="0" y="325279"/>
                  </a:lnTo>
                  <a:lnTo>
                    <a:pt x="0" y="355378"/>
                  </a:lnTo>
                  <a:cubicBezTo>
                    <a:pt x="0" y="366998"/>
                    <a:pt x="8001" y="376237"/>
                    <a:pt x="19526" y="378524"/>
                  </a:cubicBezTo>
                  <a:lnTo>
                    <a:pt x="79248" y="388906"/>
                  </a:lnTo>
                  <a:cubicBezTo>
                    <a:pt x="84963" y="410909"/>
                    <a:pt x="94202" y="432911"/>
                    <a:pt x="106775" y="453676"/>
                  </a:cubicBezTo>
                  <a:lnTo>
                    <a:pt x="72390" y="503396"/>
                  </a:lnTo>
                  <a:cubicBezTo>
                    <a:pt x="66675" y="510350"/>
                    <a:pt x="67818" y="523113"/>
                    <a:pt x="75819" y="531209"/>
                  </a:cubicBezTo>
                  <a:lnTo>
                    <a:pt x="96488" y="552069"/>
                  </a:lnTo>
                  <a:lnTo>
                    <a:pt x="117158" y="572929"/>
                  </a:lnTo>
                  <a:cubicBezTo>
                    <a:pt x="125159" y="581025"/>
                    <a:pt x="137827" y="582168"/>
                    <a:pt x="146971" y="575215"/>
                  </a:cubicBezTo>
                  <a:lnTo>
                    <a:pt x="196310" y="539306"/>
                  </a:lnTo>
                  <a:cubicBezTo>
                    <a:pt x="216980" y="550831"/>
                    <a:pt x="238792" y="560165"/>
                    <a:pt x="260604" y="565880"/>
                  </a:cubicBezTo>
                  <a:lnTo>
                    <a:pt x="270891" y="626078"/>
                  </a:lnTo>
                  <a:cubicBezTo>
                    <a:pt x="273177" y="637699"/>
                    <a:pt x="282321" y="645795"/>
                    <a:pt x="293846" y="645795"/>
                  </a:cubicBezTo>
                  <a:lnTo>
                    <a:pt x="323660" y="645795"/>
                  </a:lnTo>
                  <a:lnTo>
                    <a:pt x="353473" y="645795"/>
                  </a:lnTo>
                  <a:cubicBezTo>
                    <a:pt x="364903" y="645795"/>
                    <a:pt x="374142" y="637699"/>
                    <a:pt x="376428" y="626078"/>
                  </a:cubicBezTo>
                  <a:lnTo>
                    <a:pt x="386715" y="565880"/>
                  </a:lnTo>
                  <a:cubicBezTo>
                    <a:pt x="408527" y="560070"/>
                    <a:pt x="430340" y="550831"/>
                    <a:pt x="449866" y="539306"/>
                  </a:cubicBezTo>
                  <a:lnTo>
                    <a:pt x="499205" y="575215"/>
                  </a:lnTo>
                  <a:cubicBezTo>
                    <a:pt x="508349" y="582168"/>
                    <a:pt x="521018" y="581025"/>
                    <a:pt x="529019" y="572929"/>
                  </a:cubicBezTo>
                  <a:lnTo>
                    <a:pt x="549688" y="552069"/>
                  </a:lnTo>
                  <a:lnTo>
                    <a:pt x="570357" y="531209"/>
                  </a:lnTo>
                  <a:cubicBezTo>
                    <a:pt x="578358" y="523113"/>
                    <a:pt x="579501" y="510350"/>
                    <a:pt x="572643" y="501110"/>
                  </a:cubicBezTo>
                  <a:lnTo>
                    <a:pt x="537020" y="451390"/>
                  </a:lnTo>
                  <a:cubicBezTo>
                    <a:pt x="548450" y="430530"/>
                    <a:pt x="557689" y="408527"/>
                    <a:pt x="563404" y="386620"/>
                  </a:cubicBezTo>
                  <a:lnTo>
                    <a:pt x="623221" y="376142"/>
                  </a:lnTo>
                  <a:cubicBezTo>
                    <a:pt x="634651" y="373856"/>
                    <a:pt x="642747" y="364617"/>
                    <a:pt x="642747" y="352997"/>
                  </a:cubicBezTo>
                  <a:lnTo>
                    <a:pt x="642747" y="322898"/>
                  </a:lnTo>
                  <a:lnTo>
                    <a:pt x="642747" y="292799"/>
                  </a:lnTo>
                  <a:cubicBezTo>
                    <a:pt x="642747" y="281273"/>
                    <a:pt x="634746" y="272034"/>
                    <a:pt x="623221" y="269653"/>
                  </a:cubicBezTo>
                  <a:close/>
                </a:path>
              </a:pathLst>
            </a:custGeom>
            <a:noFill/>
            <a:ln w="15875" cap="sq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5022976B-D5B3-4892-BEC3-00A57549C932}"/>
                </a:ext>
              </a:extLst>
            </p:cNvPr>
            <p:cNvSpPr/>
            <p:nvPr/>
          </p:nvSpPr>
          <p:spPr>
            <a:xfrm>
              <a:off x="-126302" y="3564949"/>
              <a:ext cx="250221" cy="157448"/>
            </a:xfrm>
            <a:custGeom>
              <a:avLst/>
              <a:gdLst>
                <a:gd name="connsiteX0" fmla="*/ 250222 w 250221"/>
                <a:gd name="connsiteY0" fmla="*/ 0 h 157448"/>
                <a:gd name="connsiteX1" fmla="*/ 141161 w 250221"/>
                <a:gd name="connsiteY1" fmla="*/ 110014 h 157448"/>
                <a:gd name="connsiteX2" fmla="*/ 92964 w 250221"/>
                <a:gd name="connsiteY2" fmla="*/ 157448 h 157448"/>
                <a:gd name="connsiteX3" fmla="*/ 45910 w 250221"/>
                <a:gd name="connsiteY3" fmla="*/ 108775 h 157448"/>
                <a:gd name="connsiteX4" fmla="*/ 0 w 250221"/>
                <a:gd name="connsiteY4" fmla="*/ 62484 h 157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221" h="157448">
                  <a:moveTo>
                    <a:pt x="250222" y="0"/>
                  </a:moveTo>
                  <a:lnTo>
                    <a:pt x="141161" y="110014"/>
                  </a:lnTo>
                  <a:lnTo>
                    <a:pt x="92964" y="157448"/>
                  </a:lnTo>
                  <a:lnTo>
                    <a:pt x="45910" y="108775"/>
                  </a:lnTo>
                  <a:lnTo>
                    <a:pt x="0" y="62484"/>
                  </a:lnTo>
                </a:path>
              </a:pathLst>
            </a:custGeom>
            <a:noFill/>
            <a:ln w="15875" cap="sq">
              <a:solidFill>
                <a:schemeClr val="bg1"/>
              </a:solidFill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xmlns="" id="{98AAD2E6-F558-4E06-A09B-0F5AB8F29B96}"/>
              </a:ext>
            </a:extLst>
          </p:cNvPr>
          <p:cNvCxnSpPr>
            <a:cxnSpLocks/>
          </p:cNvCxnSpPr>
          <p:nvPr/>
        </p:nvCxnSpPr>
        <p:spPr>
          <a:xfrm flipH="1">
            <a:off x="7605947" y="4148818"/>
            <a:ext cx="0" cy="212021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xmlns="" id="{0747C8C6-573F-437A-9200-A428D6234FDE}"/>
              </a:ext>
            </a:extLst>
          </p:cNvPr>
          <p:cNvCxnSpPr>
            <a:cxnSpLocks/>
          </p:cNvCxnSpPr>
          <p:nvPr/>
        </p:nvCxnSpPr>
        <p:spPr>
          <a:xfrm flipH="1">
            <a:off x="3889012" y="4148818"/>
            <a:ext cx="0" cy="212021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4763897F-763A-421D-855B-E0024960C022}"/>
              </a:ext>
            </a:extLst>
          </p:cNvPr>
          <p:cNvGrpSpPr/>
          <p:nvPr/>
        </p:nvGrpSpPr>
        <p:grpSpPr>
          <a:xfrm flipH="1">
            <a:off x="7467298" y="2548143"/>
            <a:ext cx="277286" cy="329792"/>
            <a:chOff x="3031526" y="4789898"/>
            <a:chExt cx="336623" cy="329792"/>
          </a:xfrm>
        </p:grpSpPr>
        <p:sp>
          <p:nvSpPr>
            <p:cNvPr id="53" name="Arrow: Chevron 52">
              <a:extLst>
                <a:ext uri="{FF2B5EF4-FFF2-40B4-BE49-F238E27FC236}">
                  <a16:creationId xmlns:a16="http://schemas.microsoft.com/office/drawing/2014/main" xmlns="" id="{7F32BE07-5E0A-4AB8-990D-A22F68B5BA2C}"/>
                </a:ext>
              </a:extLst>
            </p:cNvPr>
            <p:cNvSpPr/>
            <p:nvPr/>
          </p:nvSpPr>
          <p:spPr bwMode="auto">
            <a:xfrm>
              <a:off x="3134002" y="4821452"/>
              <a:ext cx="234147" cy="284943"/>
            </a:xfrm>
            <a:prstGeom prst="chevron">
              <a:avLst/>
            </a:prstGeom>
            <a:solidFill>
              <a:schemeClr val="bg1">
                <a:lumMod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Arrow: Chevron 53">
              <a:extLst>
                <a:ext uri="{FF2B5EF4-FFF2-40B4-BE49-F238E27FC236}">
                  <a16:creationId xmlns:a16="http://schemas.microsoft.com/office/drawing/2014/main" xmlns="" id="{5CA8A6B4-AEAB-4D97-B5B3-D9C28EA86663}"/>
                </a:ext>
              </a:extLst>
            </p:cNvPr>
            <p:cNvSpPr/>
            <p:nvPr/>
          </p:nvSpPr>
          <p:spPr bwMode="auto">
            <a:xfrm>
              <a:off x="3031526" y="4789898"/>
              <a:ext cx="271001" cy="329792"/>
            </a:xfrm>
            <a:prstGeom prst="chevron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xmlns="" id="{BB9FE2DA-3FA5-4A1F-A5AE-75243FFE0EEB}"/>
              </a:ext>
            </a:extLst>
          </p:cNvPr>
          <p:cNvGrpSpPr/>
          <p:nvPr/>
        </p:nvGrpSpPr>
        <p:grpSpPr>
          <a:xfrm flipH="1">
            <a:off x="3719100" y="2548143"/>
            <a:ext cx="277286" cy="329792"/>
            <a:chOff x="3031526" y="4789898"/>
            <a:chExt cx="336623" cy="329792"/>
          </a:xfrm>
        </p:grpSpPr>
        <p:sp>
          <p:nvSpPr>
            <p:cNvPr id="56" name="Arrow: Chevron 55">
              <a:extLst>
                <a:ext uri="{FF2B5EF4-FFF2-40B4-BE49-F238E27FC236}">
                  <a16:creationId xmlns:a16="http://schemas.microsoft.com/office/drawing/2014/main" xmlns="" id="{E4B3429B-6DC0-4930-888A-FAAC4FDED843}"/>
                </a:ext>
              </a:extLst>
            </p:cNvPr>
            <p:cNvSpPr/>
            <p:nvPr/>
          </p:nvSpPr>
          <p:spPr bwMode="auto">
            <a:xfrm>
              <a:off x="3134002" y="4821452"/>
              <a:ext cx="234147" cy="284943"/>
            </a:xfrm>
            <a:prstGeom prst="chevron">
              <a:avLst/>
            </a:prstGeom>
            <a:solidFill>
              <a:schemeClr val="bg1">
                <a:lumMod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Arrow: Chevron 56">
              <a:extLst>
                <a:ext uri="{FF2B5EF4-FFF2-40B4-BE49-F238E27FC236}">
                  <a16:creationId xmlns:a16="http://schemas.microsoft.com/office/drawing/2014/main" xmlns="" id="{15BCF999-A463-4E1A-A9A4-9F635B7BC66D}"/>
                </a:ext>
              </a:extLst>
            </p:cNvPr>
            <p:cNvSpPr/>
            <p:nvPr/>
          </p:nvSpPr>
          <p:spPr bwMode="auto">
            <a:xfrm>
              <a:off x="3031526" y="4789898"/>
              <a:ext cx="271001" cy="329792"/>
            </a:xfrm>
            <a:prstGeom prst="chevron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84596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 rtlCol="1">
            <a:normAutofit fontScale="90000"/>
          </a:bodyPr>
          <a:lstStyle/>
          <a:p>
            <a:pPr rtl="1"/>
            <a:r>
              <a:rPr lang="ar-SA">
                <a:latin typeface="Arial" panose="020B0604020202020204" pitchFamily="34" charset="0"/>
                <a:cs typeface="Arial" panose="020B0604020202020204" pitchFamily="34" charset="0"/>
                <a:rtl/>
              </a:rPr>
              <a:t>إدارة دورة حياة التطبيقات</a:t>
            </a:r>
          </a:p>
        </p:txBody>
      </p:sp>
      <p:grpSp>
        <p:nvGrpSpPr>
          <p:cNvPr id="2" name="Group 1"/>
          <p:cNvGrpSpPr/>
          <p:nvPr/>
        </p:nvGrpSpPr>
        <p:grpSpPr>
          <a:xfrm flipH="1">
            <a:off x="561471" y="1436688"/>
            <a:ext cx="11044742" cy="4846803"/>
            <a:chOff x="561471" y="1436688"/>
            <a:chExt cx="11044742" cy="4846803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xmlns="" id="{E92E8BEA-BEC7-41C5-BF86-7932428CA9FB}"/>
                </a:ext>
              </a:extLst>
            </p:cNvPr>
            <p:cNvGrpSpPr/>
            <p:nvPr/>
          </p:nvGrpSpPr>
          <p:grpSpPr>
            <a:xfrm>
              <a:off x="1567543" y="2762249"/>
              <a:ext cx="9739086" cy="1504951"/>
              <a:chOff x="1567543" y="2670629"/>
              <a:chExt cx="9739086" cy="1596572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xmlns="" id="{0085AC1B-CDEC-45BC-8A75-66F5DDA840D0}"/>
                  </a:ext>
                </a:extLst>
              </p:cNvPr>
              <p:cNvCxnSpPr/>
              <p:nvPr/>
            </p:nvCxnSpPr>
            <p:spPr>
              <a:xfrm>
                <a:off x="1567543" y="2670629"/>
                <a:ext cx="9739086" cy="0"/>
              </a:xfrm>
              <a:prstGeom prst="line">
                <a:avLst/>
              </a:prstGeom>
              <a:ln w="3175">
                <a:solidFill>
                  <a:schemeClr val="bg1">
                    <a:lumMod val="95000"/>
                  </a:schemeClr>
                </a:solidFill>
                <a:prstDash val="dash"/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xmlns="" id="{7B5BCBAA-7C37-46A4-B864-8CA640B798E8}"/>
                  </a:ext>
                </a:extLst>
              </p:cNvPr>
              <p:cNvCxnSpPr/>
              <p:nvPr/>
            </p:nvCxnSpPr>
            <p:spPr>
              <a:xfrm>
                <a:off x="1567543" y="4267201"/>
                <a:ext cx="9739086" cy="0"/>
              </a:xfrm>
              <a:prstGeom prst="line">
                <a:avLst/>
              </a:prstGeom>
              <a:ln w="3175">
                <a:solidFill>
                  <a:schemeClr val="bg1">
                    <a:lumMod val="95000"/>
                  </a:schemeClr>
                </a:solidFill>
                <a:prstDash val="dash"/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" name="Rectangle: Top Corners Rounded 36">
              <a:extLst>
                <a:ext uri="{FF2B5EF4-FFF2-40B4-BE49-F238E27FC236}">
                  <a16:creationId xmlns:a16="http://schemas.microsoft.com/office/drawing/2014/main" xmlns="" id="{42DCF05B-88E5-4F57-96C2-991B3ECD11C5}"/>
                </a:ext>
              </a:extLst>
            </p:cNvPr>
            <p:cNvSpPr/>
            <p:nvPr/>
          </p:nvSpPr>
          <p:spPr bwMode="auto">
            <a:xfrm rot="5400000">
              <a:off x="-993857" y="3004303"/>
              <a:ext cx="4834516" cy="1723859"/>
            </a:xfrm>
            <a:prstGeom prst="round2SameRect">
              <a:avLst>
                <a:gd name="adj1" fmla="val 6579"/>
                <a:gd name="adj2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IN" sz="20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xmlns="" id="{9B41291C-865A-415A-9375-3380A0FA329E}"/>
                </a:ext>
              </a:extLst>
            </p:cNvPr>
            <p:cNvSpPr/>
            <p:nvPr/>
          </p:nvSpPr>
          <p:spPr bwMode="auto">
            <a:xfrm>
              <a:off x="3058734" y="1714881"/>
              <a:ext cx="1473410" cy="699401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تطوير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xmlns="" id="{0C4D5BCA-F708-452F-8A5F-FE4E6BD1A486}"/>
                </a:ext>
              </a:extLst>
            </p:cNvPr>
            <p:cNvSpPr/>
            <p:nvPr/>
          </p:nvSpPr>
          <p:spPr bwMode="auto">
            <a:xfrm>
              <a:off x="6358978" y="1714881"/>
              <a:ext cx="1473410" cy="699401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إنشاء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xmlns="" id="{24A6B0C3-076E-4C3D-9C19-2A077A5601EA}"/>
                </a:ext>
              </a:extLst>
            </p:cNvPr>
            <p:cNvSpPr/>
            <p:nvPr/>
          </p:nvSpPr>
          <p:spPr bwMode="auto">
            <a:xfrm>
              <a:off x="9572053" y="1714881"/>
              <a:ext cx="1473410" cy="699401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نشر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92C6699D-4655-48EE-8318-A8D482609CEE}"/>
                </a:ext>
              </a:extLst>
            </p:cNvPr>
            <p:cNvSpPr/>
            <p:nvPr/>
          </p:nvSpPr>
          <p:spPr bwMode="auto">
            <a:xfrm>
              <a:off x="3587837" y="5356325"/>
              <a:ext cx="2102844" cy="544051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DevOp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4BAB1BFC-0971-4AD3-B31D-BA2574B1F8DC}"/>
                </a:ext>
              </a:extLst>
            </p:cNvPr>
            <p:cNvSpPr/>
            <p:nvPr/>
          </p:nvSpPr>
          <p:spPr bwMode="auto">
            <a:xfrm>
              <a:off x="8160683" y="5360899"/>
              <a:ext cx="2102844" cy="534902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أصول المشتركة لـ </a:t>
              </a:r>
              <a:r>
                <a:rPr lang="ar-SA" sz="1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LCS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xmlns="" id="{F5CEDB06-C11D-466E-9186-FB27D3C79112}"/>
                </a:ext>
              </a:extLst>
            </p:cNvPr>
            <p:cNvSpPr/>
            <p:nvPr/>
          </p:nvSpPr>
          <p:spPr bwMode="auto">
            <a:xfrm>
              <a:off x="2415379" y="2934919"/>
              <a:ext cx="1205518" cy="113854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400" spc="-3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VM</a:t>
              </a:r>
              <a:r>
                <a:rPr lang="ar-SA" sz="1400" spc="-3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 للتطوير </a:t>
              </a:r>
              <a:r>
                <a:rPr lang="" sz="1400" spc="-3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1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xmlns="" id="{BEC2EBBC-7B4C-4139-AA4C-790F1B591030}"/>
                </a:ext>
              </a:extLst>
            </p:cNvPr>
            <p:cNvSpPr/>
            <p:nvPr/>
          </p:nvSpPr>
          <p:spPr bwMode="auto">
            <a:xfrm>
              <a:off x="4022293" y="2934919"/>
              <a:ext cx="1205518" cy="113854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400" spc="-3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VM</a:t>
              </a:r>
              <a:r>
                <a:rPr lang="ar-SA" sz="1400" spc="-3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 للتطوير </a:t>
              </a:r>
              <a:r>
                <a:rPr lang="" sz="1400" spc="-3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2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xmlns="" id="{4B251EA7-9ADA-494A-BD25-6511DC6E3416}"/>
                </a:ext>
              </a:extLst>
            </p:cNvPr>
            <p:cNvSpPr/>
            <p:nvPr/>
          </p:nvSpPr>
          <p:spPr bwMode="auto">
            <a:xfrm>
              <a:off x="6179419" y="2934919"/>
              <a:ext cx="1205518" cy="113854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40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إنشاء </a:t>
              </a:r>
              <a:r>
                <a:rPr lang="ar-SA" sz="140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VM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xmlns="" id="{CEEEC8BD-EC7D-4AF1-B3B9-4846810934E6}"/>
                </a:ext>
              </a:extLst>
            </p:cNvPr>
            <p:cNvSpPr/>
            <p:nvPr/>
          </p:nvSpPr>
          <p:spPr bwMode="auto">
            <a:xfrm>
              <a:off x="8611345" y="2934919"/>
              <a:ext cx="1205518" cy="113854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40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ختبار قبول المستخدم </a:t>
              </a:r>
              <a:r>
                <a:rPr lang="ar-SA" sz="140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(UAT)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xmlns="" id="{7528834B-47A0-406D-A0FC-B0E317272E1E}"/>
                </a:ext>
              </a:extLst>
            </p:cNvPr>
            <p:cNvSpPr/>
            <p:nvPr/>
          </p:nvSpPr>
          <p:spPr bwMode="auto">
            <a:xfrm>
              <a:off x="10249676" y="2934919"/>
              <a:ext cx="1205518" cy="113854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 defTabSz="91410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40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منتج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CEB7ECCE-B523-48F3-BA78-A78AB20BAEB0}"/>
                </a:ext>
              </a:extLst>
            </p:cNvPr>
            <p:cNvSpPr txBox="1"/>
            <p:nvPr/>
          </p:nvSpPr>
          <p:spPr>
            <a:xfrm>
              <a:off x="1267934" y="1881701"/>
              <a:ext cx="789030" cy="365760"/>
            </a:xfrm>
            <a:prstGeom prst="rect">
              <a:avLst/>
            </a:prstGeom>
            <a:noFill/>
          </p:spPr>
          <p:txBody>
            <a:bodyPr wrap="none" lIns="0" tIns="0" rIns="0" bIns="0" rtlCol="1" anchor="ctr">
              <a:noAutofit/>
            </a:bodyPr>
            <a:lstStyle/>
            <a:p>
              <a:pPr algn="l" defTabSz="914367" rtl="1">
                <a:lnSpc>
                  <a:spcPct val="90000"/>
                </a:lnSpc>
                <a:spcAft>
                  <a:spcPts val="588"/>
                </a:spcAft>
              </a:pPr>
              <a:r>
                <a:rPr lang="ar-SA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مرحلة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88D31685-D4EE-46AD-9173-73B3934BCD2A}"/>
                </a:ext>
              </a:extLst>
            </p:cNvPr>
            <p:cNvSpPr txBox="1"/>
            <p:nvPr/>
          </p:nvSpPr>
          <p:spPr>
            <a:xfrm>
              <a:off x="939386" y="3321311"/>
              <a:ext cx="1117578" cy="365760"/>
            </a:xfrm>
            <a:prstGeom prst="rect">
              <a:avLst/>
            </a:prstGeom>
            <a:noFill/>
          </p:spPr>
          <p:txBody>
            <a:bodyPr wrap="none" lIns="0" tIns="0" rIns="0" bIns="0" rtlCol="1" anchor="ctr">
              <a:noAutofit/>
            </a:bodyPr>
            <a:lstStyle/>
            <a:p>
              <a:pPr algn="l" defTabSz="914367" rtl="1">
                <a:lnSpc>
                  <a:spcPct val="90000"/>
                </a:lnSpc>
                <a:spcAft>
                  <a:spcPts val="588"/>
                </a:spcAft>
              </a:pPr>
              <a:r>
                <a:rPr lang="ar-SA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بيئة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D2E17573-1498-4796-88DF-0BAC3E568461}"/>
                </a:ext>
              </a:extLst>
            </p:cNvPr>
            <p:cNvSpPr/>
            <p:nvPr/>
          </p:nvSpPr>
          <p:spPr>
            <a:xfrm>
              <a:off x="1267934" y="5445470"/>
              <a:ext cx="789030" cy="365760"/>
            </a:xfrm>
            <a:prstGeom prst="rect">
              <a:avLst/>
            </a:prstGeom>
          </p:spPr>
          <p:txBody>
            <a:bodyPr wrap="none" lIns="0" tIns="0" rIns="0" bIns="0" rtlCol="1" anchor="ctr">
              <a:noAutofit/>
            </a:bodyPr>
            <a:lstStyle/>
            <a:p>
              <a:pPr algn="l" defTabSz="914367" rtl="1"/>
              <a:r>
                <a:rPr lang="ar-SA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أداة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xmlns="" id="{7B4986A4-4158-4D1B-BBEB-BDD20D105EDE}"/>
                </a:ext>
              </a:extLst>
            </p:cNvPr>
            <p:cNvCxnSpPr>
              <a:cxnSpLocks/>
            </p:cNvCxnSpPr>
            <p:nvPr/>
          </p:nvCxnSpPr>
          <p:spPr>
            <a:xfrm>
              <a:off x="4532144" y="2064581"/>
              <a:ext cx="1826834" cy="0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xmlns="" id="{B1276653-A269-4250-845D-D13FE4A1DD83}"/>
                </a:ext>
              </a:extLst>
            </p:cNvPr>
            <p:cNvCxnSpPr>
              <a:cxnSpLocks/>
            </p:cNvCxnSpPr>
            <p:nvPr/>
          </p:nvCxnSpPr>
          <p:spPr>
            <a:xfrm>
              <a:off x="7832388" y="2064581"/>
              <a:ext cx="1739665" cy="0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xmlns="" id="{41274C59-780B-45AB-8642-E0BE27BB01F7}"/>
                </a:ext>
              </a:extLst>
            </p:cNvPr>
            <p:cNvCxnSpPr>
              <a:cxnSpLocks/>
              <a:stCxn id="11" idx="4"/>
              <a:endCxn id="9" idx="1"/>
            </p:cNvCxnSpPr>
            <p:nvPr/>
          </p:nvCxnSpPr>
          <p:spPr>
            <a:xfrm rot="16200000" flipH="1">
              <a:off x="2525543" y="4566057"/>
              <a:ext cx="1554888" cy="569699"/>
            </a:xfrm>
            <a:prstGeom prst="bentConnector2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xmlns="" id="{AF79EE72-CC70-4CD4-81DD-57E6EFD191F4}"/>
                </a:ext>
              </a:extLst>
            </p:cNvPr>
            <p:cNvCxnSpPr>
              <a:cxnSpLocks/>
              <a:stCxn id="12" idx="4"/>
            </p:cNvCxnSpPr>
            <p:nvPr/>
          </p:nvCxnSpPr>
          <p:spPr>
            <a:xfrm>
              <a:off x="4625052" y="4073463"/>
              <a:ext cx="0" cy="1230057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xmlns="" id="{EBB6C6A5-EF1C-446B-865B-B8406F591380}"/>
                </a:ext>
              </a:extLst>
            </p:cNvPr>
            <p:cNvCxnSpPr>
              <a:cxnSpLocks/>
              <a:stCxn id="13" idx="3"/>
              <a:endCxn id="9" idx="3"/>
            </p:cNvCxnSpPr>
            <p:nvPr/>
          </p:nvCxnSpPr>
          <p:spPr>
            <a:xfrm rot="5400000">
              <a:off x="5162510" y="4434898"/>
              <a:ext cx="1721624" cy="665282"/>
            </a:xfrm>
            <a:prstGeom prst="bentConnector2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xmlns="" id="{807D4335-BA3D-4160-850E-520304037694}"/>
                </a:ext>
              </a:extLst>
            </p:cNvPr>
            <p:cNvCxnSpPr>
              <a:cxnSpLocks/>
              <a:stCxn id="10" idx="1"/>
              <a:endCxn id="13" idx="5"/>
            </p:cNvCxnSpPr>
            <p:nvPr/>
          </p:nvCxnSpPr>
          <p:spPr>
            <a:xfrm rot="10800000">
              <a:off x="7208393" y="3906728"/>
              <a:ext cx="952290" cy="1721623"/>
            </a:xfrm>
            <a:prstGeom prst="bentConnector2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xmlns="" id="{F2BB017E-B7C1-4DE9-A4F3-47FEA389BF19}"/>
                </a:ext>
              </a:extLst>
            </p:cNvPr>
            <p:cNvCxnSpPr>
              <a:cxnSpLocks/>
              <a:stCxn id="14" idx="5"/>
            </p:cNvCxnSpPr>
            <p:nvPr/>
          </p:nvCxnSpPr>
          <p:spPr>
            <a:xfrm>
              <a:off x="9640319" y="3906727"/>
              <a:ext cx="0" cy="1449598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xmlns="" id="{2D05F495-2528-45D5-8EC7-0A1BA6EBBFD6}"/>
                </a:ext>
              </a:extLst>
            </p:cNvPr>
            <p:cNvCxnSpPr>
              <a:cxnSpLocks/>
              <a:stCxn id="15" idx="4"/>
              <a:endCxn id="10" idx="3"/>
            </p:cNvCxnSpPr>
            <p:nvPr/>
          </p:nvCxnSpPr>
          <p:spPr>
            <a:xfrm rot="5400000">
              <a:off x="9780538" y="4556452"/>
              <a:ext cx="1554887" cy="588908"/>
            </a:xfrm>
            <a:prstGeom prst="bentConnector2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xmlns="" id="{F74A25BF-B557-4F7F-B8F8-9C7D9255A050}"/>
                </a:ext>
              </a:extLst>
            </p:cNvPr>
            <p:cNvSpPr txBox="1"/>
            <p:nvPr/>
          </p:nvSpPr>
          <p:spPr>
            <a:xfrm flipH="1">
              <a:off x="2692409" y="4552183"/>
              <a:ext cx="795503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1">
              <a:noAutofit/>
            </a:bodyPr>
            <a:lstStyle/>
            <a:p>
              <a:pPr algn="ctr" defTabSz="914367" rtl="1">
                <a:lnSpc>
                  <a:spcPct val="90000"/>
                </a:lnSpc>
                <a:spcAft>
                  <a:spcPts val="588"/>
                </a:spcAft>
              </a:pPr>
              <a:r>
                <a:rPr lang="ar-SA" sz="90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عنصر تحكم المصدر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xmlns="" id="{5B47EFFC-DE8F-4ABA-A284-750820C875B0}"/>
                </a:ext>
              </a:extLst>
            </p:cNvPr>
            <p:cNvSpPr txBox="1"/>
            <p:nvPr/>
          </p:nvSpPr>
          <p:spPr>
            <a:xfrm flipH="1">
              <a:off x="4220646" y="4579182"/>
              <a:ext cx="914400" cy="12888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1">
              <a:noAutofit/>
            </a:bodyPr>
            <a:lstStyle/>
            <a:p>
              <a:pPr algn="ctr" defTabSz="914367" rtl="1">
                <a:lnSpc>
                  <a:spcPct val="90000"/>
                </a:lnSpc>
                <a:spcAft>
                  <a:spcPts val="588"/>
                </a:spcAft>
              </a:pPr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عنصر تحكم المصدر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xmlns="" id="{D14AB0DB-DC9A-4C64-9AF1-EBD951E6C99F}"/>
                </a:ext>
              </a:extLst>
            </p:cNvPr>
            <p:cNvSpPr txBox="1"/>
            <p:nvPr/>
          </p:nvSpPr>
          <p:spPr>
            <a:xfrm flipH="1">
              <a:off x="5867779" y="4579182"/>
              <a:ext cx="914400" cy="12888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1">
              <a:noAutofit/>
            </a:bodyPr>
            <a:lstStyle/>
            <a:p>
              <a:pPr algn="ctr" defTabSz="914367" rtl="1">
                <a:lnSpc>
                  <a:spcPct val="90000"/>
                </a:lnSpc>
                <a:spcAft>
                  <a:spcPts val="588"/>
                </a:spcAft>
              </a:pPr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عنصر تحكم المصدر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07A44464-7FA6-45CB-8EA7-40A50B95F421}"/>
                </a:ext>
              </a:extLst>
            </p:cNvPr>
            <p:cNvSpPr txBox="1"/>
            <p:nvPr/>
          </p:nvSpPr>
          <p:spPr>
            <a:xfrm flipH="1">
              <a:off x="6747583" y="4565247"/>
              <a:ext cx="978655" cy="1155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1">
              <a:noAutofit/>
            </a:bodyPr>
            <a:lstStyle/>
            <a:p>
              <a:pPr algn="ctr" defTabSz="914367" rtl="1"/>
              <a:r>
                <a:rPr lang="ar-SA" sz="8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حزمة تطبيق قابلة للنشر‬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AEF906BC-B5FA-4B4D-8A4E-DDC77929FA37}"/>
                </a:ext>
              </a:extLst>
            </p:cNvPr>
            <p:cNvSpPr txBox="1"/>
            <p:nvPr/>
          </p:nvSpPr>
          <p:spPr>
            <a:xfrm flipH="1">
              <a:off x="9220664" y="4576288"/>
              <a:ext cx="1023450" cy="13467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1">
              <a:noAutofit/>
            </a:bodyPr>
            <a:lstStyle/>
            <a:p>
              <a:pPr algn="ctr" defTabSz="914367" rtl="1"/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مرشح الإصدار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05C5D3F6-56FA-45EA-A367-90A0EDB903ED}"/>
                </a:ext>
              </a:extLst>
            </p:cNvPr>
            <p:cNvSpPr txBox="1"/>
            <p:nvPr/>
          </p:nvSpPr>
          <p:spPr>
            <a:xfrm flipH="1">
              <a:off x="10263526" y="4576287"/>
              <a:ext cx="928839" cy="13467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1">
              <a:noAutofit/>
            </a:bodyPr>
            <a:lstStyle/>
            <a:p>
              <a:pPr algn="ctr" defTabSz="914367" rtl="1"/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مرشح الإصدار</a:t>
              </a: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xmlns="" id="{EFB79028-EFF2-4CEE-BF07-C6A1F0FC246C}"/>
                </a:ext>
              </a:extLst>
            </p:cNvPr>
            <p:cNvCxnSpPr>
              <a:cxnSpLocks/>
              <a:stCxn id="14" idx="3"/>
            </p:cNvCxnSpPr>
            <p:nvPr/>
          </p:nvCxnSpPr>
          <p:spPr>
            <a:xfrm>
              <a:off x="8787889" y="3906727"/>
              <a:ext cx="0" cy="1441816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A04C8A39-CE06-4453-B8CF-E66643C8B22F}"/>
                </a:ext>
              </a:extLst>
            </p:cNvPr>
            <p:cNvSpPr txBox="1"/>
            <p:nvPr/>
          </p:nvSpPr>
          <p:spPr>
            <a:xfrm flipH="1">
              <a:off x="8417455" y="4578310"/>
              <a:ext cx="796379" cy="16693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1">
              <a:noAutofit/>
            </a:bodyPr>
            <a:lstStyle/>
            <a:p>
              <a:pPr algn="ctr" defTabSz="914367" rtl="1"/>
              <a:r>
                <a:rPr lang="ar-SA" sz="8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حزمة تطبيق قابلة للنشر‬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xmlns="" id="{9FA66C33-C9DA-4FEC-9D66-CAD16950E0EE}"/>
                </a:ext>
              </a:extLst>
            </p:cNvPr>
            <p:cNvSpPr/>
            <p:nvPr/>
          </p:nvSpPr>
          <p:spPr bwMode="auto">
            <a:xfrm>
              <a:off x="588963" y="1436688"/>
              <a:ext cx="11017250" cy="4832350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IN" sz="20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xmlns="" id="{A23F03C4-52EA-4553-B640-7AB2673C4BD8}"/>
                </a:ext>
              </a:extLst>
            </p:cNvPr>
            <p:cNvGrpSpPr/>
            <p:nvPr/>
          </p:nvGrpSpPr>
          <p:grpSpPr>
            <a:xfrm>
              <a:off x="1567415" y="2915506"/>
              <a:ext cx="731284" cy="1596572"/>
              <a:chOff x="1567543" y="2670629"/>
              <a:chExt cx="9739086" cy="1596572"/>
            </a:xfrm>
          </p:grpSpPr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xmlns="" id="{8BAA7E6A-22C9-4B87-90E0-EFA3FE3090A2}"/>
                  </a:ext>
                </a:extLst>
              </p:cNvPr>
              <p:cNvCxnSpPr/>
              <p:nvPr/>
            </p:nvCxnSpPr>
            <p:spPr>
              <a:xfrm>
                <a:off x="1567543" y="2670629"/>
                <a:ext cx="9739086" cy="0"/>
              </a:xfrm>
              <a:prstGeom prst="line">
                <a:avLst/>
              </a:prstGeom>
              <a:ln w="38100">
                <a:solidFill>
                  <a:schemeClr val="tx2"/>
                </a:solidFill>
                <a:prstDash val="solid"/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xmlns="" id="{F0613AE0-AC0C-4F0C-9A9C-35B64E7F44F2}"/>
                  </a:ext>
                </a:extLst>
              </p:cNvPr>
              <p:cNvCxnSpPr/>
              <p:nvPr/>
            </p:nvCxnSpPr>
            <p:spPr>
              <a:xfrm>
                <a:off x="1567543" y="4267201"/>
                <a:ext cx="9739086" cy="0"/>
              </a:xfrm>
              <a:prstGeom prst="line">
                <a:avLst/>
              </a:prstGeom>
              <a:ln w="38100">
                <a:solidFill>
                  <a:schemeClr val="tx2"/>
                </a:solidFill>
                <a:prstDash val="solid"/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9276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>
            <a:extLst>
              <a:ext uri="{FF2B5EF4-FFF2-40B4-BE49-F238E27FC236}">
                <a16:creationId xmlns:a16="http://schemas.microsoft.com/office/drawing/2014/main" xmlns="" id="{ED638660-58F5-4E0E-97C9-14CC66CDAE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700" y="1876114"/>
            <a:ext cx="9374400" cy="307716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DE87E06E-7EA4-47A4-B038-BA9F54E6A309}"/>
              </a:ext>
            </a:extLst>
          </p:cNvPr>
          <p:cNvGrpSpPr/>
          <p:nvPr/>
        </p:nvGrpSpPr>
        <p:grpSpPr>
          <a:xfrm flipH="1">
            <a:off x="1594585" y="1824037"/>
            <a:ext cx="4125814" cy="1604963"/>
            <a:chOff x="6471601" y="1824037"/>
            <a:chExt cx="4125814" cy="1604963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xmlns="" id="{222FA892-4554-42EC-82A4-53A3EDB19300}"/>
                </a:ext>
              </a:extLst>
            </p:cNvPr>
            <p:cNvSpPr txBox="1"/>
            <p:nvPr/>
          </p:nvSpPr>
          <p:spPr>
            <a:xfrm>
              <a:off x="6471601" y="1824037"/>
              <a:ext cx="161430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1">
              <a:spAutoFit/>
            </a:bodyPr>
            <a:lstStyle/>
            <a:p>
              <a:pPr algn="ctr" rtl="1"/>
              <a:r>
                <a:rPr lang="ar-SA" sz="1200" dirty="0">
                  <a:rtl/>
                </a:rPr>
                <a:t>اختبار قبول المستخدم </a:t>
              </a:r>
              <a:r>
                <a:rPr lang="ar-SA" sz="1200" dirty="0">
                  <a:rtl val="0"/>
                </a:rPr>
                <a:t>(UAT)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CE97F435-37A7-47F6-B15A-13B90002BA0F}"/>
                </a:ext>
              </a:extLst>
            </p:cNvPr>
            <p:cNvSpPr txBox="1"/>
            <p:nvPr/>
          </p:nvSpPr>
          <p:spPr>
            <a:xfrm>
              <a:off x="9440779" y="3121223"/>
              <a:ext cx="1156636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1">
              <a:spAutoFit/>
            </a:bodyPr>
            <a:lstStyle/>
            <a:p>
              <a:pPr algn="ctr" rtl="1"/>
              <a:r>
                <a:rPr lang="ar-SA" sz="1400" dirty="0">
                  <a:rtl/>
                </a:rPr>
                <a:t>الإنتاج</a:t>
              </a:r>
            </a:p>
          </p:txBody>
        </p:sp>
      </p:grp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EE499AD1-893F-4E93-BCCC-AA57F0604338}"/>
              </a:ext>
            </a:extLst>
          </p:cNvPr>
          <p:cNvSpPr txBox="1"/>
          <p:nvPr/>
        </p:nvSpPr>
        <p:spPr>
          <a:xfrm flipH="1">
            <a:off x="8338421" y="2949731"/>
            <a:ext cx="442750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rtl="1"/>
            <a:r>
              <a:rPr lang="ar-SA" sz="1300" dirty="0">
                <a:rtl/>
              </a:rPr>
              <a:t>إيداع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xmlns="" id="{A18FD781-6814-4B07-9FEC-49F8D3F8BF54}"/>
              </a:ext>
            </a:extLst>
          </p:cNvPr>
          <p:cNvSpPr txBox="1"/>
          <p:nvPr/>
        </p:nvSpPr>
        <p:spPr>
          <a:xfrm flipH="1">
            <a:off x="7374056" y="2949731"/>
            <a:ext cx="455574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rtl="1"/>
            <a:r>
              <a:rPr lang="ar-SA" sz="1300" dirty="0">
                <a:rtl/>
              </a:rPr>
              <a:t>إنشاء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xmlns="" id="{4E1517E2-2FFA-4F2A-8E9B-FDEA8FDFB4D8}"/>
              </a:ext>
            </a:extLst>
          </p:cNvPr>
          <p:cNvSpPr txBox="1"/>
          <p:nvPr/>
        </p:nvSpPr>
        <p:spPr>
          <a:xfrm flipH="1">
            <a:off x="6488390" y="2949731"/>
            <a:ext cx="506870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rtl="1"/>
            <a:r>
              <a:rPr lang="ar-SA" sz="1300" dirty="0">
                <a:rtl/>
              </a:rPr>
              <a:t>ترويج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69B2AB2D-6B39-4A25-AD9C-043119B2D66D}"/>
              </a:ext>
            </a:extLst>
          </p:cNvPr>
          <p:cNvSpPr txBox="1"/>
          <p:nvPr/>
        </p:nvSpPr>
        <p:spPr>
          <a:xfrm flipH="1">
            <a:off x="5265466" y="4608208"/>
            <a:ext cx="508473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rtl="1"/>
            <a:r>
              <a:rPr lang="ar-SA" altLang="ar-SA" sz="1300" dirty="0">
                <a:rtl/>
              </a:rPr>
              <a:t>اختبار</a:t>
            </a:r>
            <a:endParaRPr lang="en-US" sz="13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xmlns="" id="{E0ACBFE9-67BE-4C62-ABFC-1D2D2F76962F}"/>
              </a:ext>
            </a:extLst>
          </p:cNvPr>
          <p:cNvSpPr txBox="1"/>
          <p:nvPr/>
        </p:nvSpPr>
        <p:spPr>
          <a:xfrm flipH="1">
            <a:off x="9807809" y="4554868"/>
            <a:ext cx="514885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 rtl="1"/>
            <a:r>
              <a:rPr lang="ar-SA" altLang="ar-SA" sz="1300" dirty="0">
                <a:rtl/>
              </a:rPr>
              <a:t>تطوير</a:t>
            </a:r>
            <a:endParaRPr lang="en-US" sz="1300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C9A1BB6C-CB55-4EEB-A74A-92C521694C5E}"/>
              </a:ext>
            </a:extLst>
          </p:cNvPr>
          <p:cNvSpPr txBox="1"/>
          <p:nvPr/>
        </p:nvSpPr>
        <p:spPr>
          <a:xfrm flipH="1">
            <a:off x="3839387" y="4608208"/>
            <a:ext cx="1132041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rtl="1"/>
            <a:r>
              <a:rPr lang="ar-SA" altLang="ar-SA" sz="1300" dirty="0">
                <a:rtl/>
              </a:rPr>
              <a:t>التحقق من الصحة</a:t>
            </a:r>
            <a:endParaRPr lang="en-US" sz="1300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FD92F42E-3265-4F27-A69E-E76DDF81EF01}"/>
              </a:ext>
            </a:extLst>
          </p:cNvPr>
          <p:cNvSpPr txBox="1"/>
          <p:nvPr/>
        </p:nvSpPr>
        <p:spPr>
          <a:xfrm flipH="1">
            <a:off x="1846799" y="4608208"/>
            <a:ext cx="498855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 rtl="1"/>
            <a:r>
              <a:rPr lang="ar-SA" altLang="ar-SA" sz="1300" dirty="0">
                <a:rtl/>
              </a:rPr>
              <a:t>جدولة</a:t>
            </a:r>
            <a:endParaRPr lang="en-US" sz="130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0CA74A98-BF35-4BAD-AB85-7402B091FF08}"/>
              </a:ext>
            </a:extLst>
          </p:cNvPr>
          <p:cNvSpPr txBox="1"/>
          <p:nvPr/>
        </p:nvSpPr>
        <p:spPr>
          <a:xfrm flipH="1">
            <a:off x="5354985" y="3190904"/>
            <a:ext cx="454933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r" rtl="1"/>
            <a:r>
              <a:rPr lang="ar-SA" altLang="ar-SA" sz="1300" dirty="0">
                <a:rtl/>
              </a:rPr>
              <a:t>اختبار</a:t>
            </a:r>
            <a:endParaRPr lang="en-US" sz="13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xmlns="" id="{E0A1E363-ADDE-44CD-80E4-5AA8A1F75E22}"/>
              </a:ext>
            </a:extLst>
          </p:cNvPr>
          <p:cNvSpPr txBox="1"/>
          <p:nvPr/>
        </p:nvSpPr>
        <p:spPr>
          <a:xfrm flipH="1">
            <a:off x="3971607" y="3234499"/>
            <a:ext cx="556306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r" rtl="1"/>
            <a:r>
              <a:rPr lang="ar-SA" altLang="ar-SA" sz="1300" dirty="0">
                <a:rtl/>
              </a:rPr>
              <a:t>مرحلة</a:t>
            </a:r>
            <a:endParaRPr lang="en-US" sz="1300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xmlns="" id="{DC2849E3-D794-4229-B836-A0FDDB280271}"/>
              </a:ext>
            </a:extLst>
          </p:cNvPr>
          <p:cNvSpPr txBox="1"/>
          <p:nvPr/>
        </p:nvSpPr>
        <p:spPr>
          <a:xfrm flipH="1">
            <a:off x="9402858" y="2803537"/>
            <a:ext cx="514885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rtl="1"/>
            <a:r>
              <a:rPr lang="ar-SA" altLang="ar-SA" sz="1300" dirty="0">
                <a:rtl/>
              </a:rPr>
              <a:t>تطوير</a:t>
            </a:r>
            <a:endParaRPr lang="en-US" sz="1300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505018DA-043D-4B47-B8EC-BB76618364DC}"/>
              </a:ext>
            </a:extLst>
          </p:cNvPr>
          <p:cNvSpPr txBox="1"/>
          <p:nvPr/>
        </p:nvSpPr>
        <p:spPr>
          <a:xfrm flipH="1">
            <a:off x="8150099" y="3430174"/>
            <a:ext cx="708784" cy="292388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r" rtl="1"/>
            <a:r>
              <a:rPr lang="ar-SA" sz="1300" dirty="0">
                <a:rtl val="0"/>
              </a:rPr>
              <a:t>DevOps</a:t>
            </a:r>
          </a:p>
        </p:txBody>
      </p:sp>
    </p:spTree>
    <p:extLst>
      <p:ext uri="{BB962C8B-B14F-4D97-AF65-F5344CB8AC3E}">
        <p14:creationId xmlns:p14="http://schemas.microsoft.com/office/powerpoint/2010/main" val="3100287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extBox 1">
            <a:extLst>
              <a:ext uri="{FF2B5EF4-FFF2-40B4-BE49-F238E27FC236}">
                <a16:creationId xmlns:a16="http://schemas.microsoft.com/office/drawing/2014/main" xmlns="" id="{05557470-8CCC-4BA3-8A7E-97239E15E3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1000087"/>
              </p:ext>
            </p:extLst>
          </p:nvPr>
        </p:nvGraphicFramePr>
        <p:xfrm>
          <a:off x="2202492" y="1437066"/>
          <a:ext cx="7160583" cy="39255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13432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i0XlKNcbnHaMjFkj4q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72f988bf-86f1-41af-91ab-2d7cd011db47}" enabled="0" method="" siteId="{72f988bf-86f1-41af-91ab-2d7cd011db4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91</TotalTime>
  <Words>201</Words>
  <Application>Microsoft Office PowerPoint</Application>
  <PresentationFormat>Widescreen</PresentationFormat>
  <Paragraphs>63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Segoe UI</vt:lpstr>
      <vt:lpstr>Segoe UI Semibold</vt:lpstr>
      <vt:lpstr>Office Theme</vt:lpstr>
      <vt:lpstr>think-cell Slide</vt:lpstr>
      <vt:lpstr>نظرة عامة على الإجراء</vt:lpstr>
      <vt:lpstr>إدارة دورة حياة التطبيقات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ghan McMullen</dc:creator>
  <cp:lastModifiedBy>Shang, Yan</cp:lastModifiedBy>
  <cp:revision>15</cp:revision>
  <dcterms:created xsi:type="dcterms:W3CDTF">2021-01-21T21:07:13Z</dcterms:created>
  <dcterms:modified xsi:type="dcterms:W3CDTF">2021-07-14T07:35:40Z</dcterms:modified>
</cp:coreProperties>
</file>